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5" r:id="rId2"/>
  </p:sldMasterIdLst>
  <p:notesMasterIdLst>
    <p:notesMasterId r:id="rId4"/>
  </p:notesMasterIdLst>
  <p:sldIdLst>
    <p:sldId id="262" r:id="rId3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C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980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6DA09-43D0-4EA7-B635-95BE57830B51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E6538-E3B6-4696-B5D0-E6B1A2C6919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02674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9E6538-E3B6-4696-B5D0-E6B1A2C69194}" type="slidenum">
              <a:rPr lang="en-NL" smtClean="0"/>
              <a:t>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72228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Gene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C65891C-A3A3-ED34-8C0A-7880DD6C4936}"/>
              </a:ext>
            </a:extLst>
          </p:cNvPr>
          <p:cNvSpPr/>
          <p:nvPr/>
        </p:nvSpPr>
        <p:spPr>
          <a:xfrm>
            <a:off x="0" y="2105026"/>
            <a:ext cx="12192000" cy="4747843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89570639-D439-CB4A-8E3A-DB14A209B15E}"/>
              </a:ext>
            </a:extLst>
          </p:cNvPr>
          <p:cNvSpPr/>
          <p:nvPr/>
        </p:nvSpPr>
        <p:spPr>
          <a:xfrm>
            <a:off x="0" y="94642"/>
            <a:ext cx="12192000" cy="2099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78B61334-9308-560B-A31A-ADD107ECA6B2}"/>
              </a:ext>
            </a:extLst>
          </p:cNvPr>
          <p:cNvSpPr/>
          <p:nvPr/>
        </p:nvSpPr>
        <p:spPr>
          <a:xfrm>
            <a:off x="431944" y="1576388"/>
            <a:ext cx="11327725" cy="4844480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5536FA4-54FE-4A9E-171E-B0DB9CF27A2C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887" y="482400"/>
            <a:ext cx="2343697" cy="565200"/>
          </a:xfrm>
          <a:prstGeom prst="rect">
            <a:avLst/>
          </a:prstGeom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AB20DBE5-98C5-2996-6E03-1F2E8A23DA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>
          <a:xfrm>
            <a:off x="863889" y="3867150"/>
            <a:ext cx="4801386" cy="212725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ubtitle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F25B9F-C539-D548-73C4-E555674A32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63889" y="1940862"/>
            <a:ext cx="4801386" cy="1735419"/>
          </a:xfrm>
        </p:spPr>
        <p:txBody>
          <a:bodyPr anchor="b">
            <a:normAutofit/>
          </a:bodyPr>
          <a:lstStyle>
            <a:lvl1pPr algn="l">
              <a:defRPr lang="en-GB" sz="3200" b="0" i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246A03B7-31E0-84F6-87BE-72F2AB39E65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7606" y="1576387"/>
            <a:ext cx="5662063" cy="4844479"/>
          </a:xfrm>
          <a:custGeom>
            <a:avLst/>
            <a:gdLst>
              <a:gd name="connsiteX0" fmla="*/ 0 w 5524498"/>
              <a:gd name="connsiteY0" fmla="*/ 0 h 4747844"/>
              <a:gd name="connsiteX1" fmla="*/ 5524498 w 5524498"/>
              <a:gd name="connsiteY1" fmla="*/ 0 h 4747844"/>
              <a:gd name="connsiteX2" fmla="*/ 5524498 w 5524498"/>
              <a:gd name="connsiteY2" fmla="*/ 4747844 h 4747844"/>
              <a:gd name="connsiteX3" fmla="*/ 0 w 5524498"/>
              <a:gd name="connsiteY3" fmla="*/ 4747844 h 4747844"/>
              <a:gd name="connsiteX4" fmla="*/ 0 w 5524498"/>
              <a:gd name="connsiteY4" fmla="*/ 685879 h 4747844"/>
              <a:gd name="connsiteX5" fmla="*/ 2063 w 5524498"/>
              <a:gd name="connsiteY5" fmla="*/ 688036 h 4747844"/>
              <a:gd name="connsiteX6" fmla="*/ 167133 w 5524498"/>
              <a:gd name="connsiteY6" fmla="*/ 515355 h 4747844"/>
              <a:gd name="connsiteX7" fmla="*/ 2063 w 5524498"/>
              <a:gd name="connsiteY7" fmla="*/ 342673 h 4747844"/>
              <a:gd name="connsiteX8" fmla="*/ 0 w 5524498"/>
              <a:gd name="connsiteY8" fmla="*/ 344831 h 4747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4498" h="4747844">
                <a:moveTo>
                  <a:pt x="0" y="0"/>
                </a:moveTo>
                <a:lnTo>
                  <a:pt x="5524498" y="0"/>
                </a:lnTo>
                <a:lnTo>
                  <a:pt x="5524498" y="4747844"/>
                </a:lnTo>
                <a:lnTo>
                  <a:pt x="0" y="4747844"/>
                </a:lnTo>
                <a:lnTo>
                  <a:pt x="0" y="685879"/>
                </a:lnTo>
                <a:lnTo>
                  <a:pt x="2063" y="688036"/>
                </a:lnTo>
                <a:lnTo>
                  <a:pt x="167133" y="515355"/>
                </a:lnTo>
                <a:lnTo>
                  <a:pt x="2063" y="342673"/>
                </a:lnTo>
                <a:lnTo>
                  <a:pt x="0" y="344831"/>
                </a:lnTo>
                <a:close/>
              </a:path>
            </a:pathLst>
          </a:custGeom>
        </p:spPr>
        <p:txBody>
          <a:bodyPr wrap="square" lIns="360000" tIns="360000" rIns="360000" bIns="360000" anchor="ctr" anchorCtr="0">
            <a:noAutofit/>
          </a:bodyPr>
          <a:lstStyle>
            <a:lvl1pPr algn="ctr">
              <a:defRPr sz="18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7679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7479326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6941" y="1576388"/>
            <a:ext cx="3633115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5825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-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43" y="1576388"/>
            <a:ext cx="7461866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312825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- text right -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143" y="1576388"/>
            <a:ext cx="5555527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43" y="1576388"/>
            <a:ext cx="5555527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200106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- text right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43A1CD5-5BA1-3E65-63A6-527C6AF1B8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B5064B-25A9-B71E-0B29-2D426526BE9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46D1674-3CAD-1C09-0F58-469E1A99A0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030631-93D4-745C-31C7-07B9E325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343" y="1576388"/>
            <a:ext cx="7479327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0E40B922-EA96-E67D-BA92-AAABB6AAF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43" y="1576388"/>
            <a:ext cx="3631728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3183424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79343" y="1576388"/>
            <a:ext cx="7461866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52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- picture right -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3140" y="1576388"/>
            <a:ext cx="5538068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553806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979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- picture right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01BAC17A-CB5E-6D8B-4F18-938B378A93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6942" y="1576388"/>
            <a:ext cx="3614266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AA4F7E1-2D49-F6FF-D6A1-442D559096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7479326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10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48CC2631-800F-EB89-643D-D56DC5D00C9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43" y="1576388"/>
            <a:ext cx="11309466" cy="4418013"/>
          </a:xfrm>
          <a:prstGeom prst="rect">
            <a:avLst/>
          </a:prstGeom>
          <a:solidFill>
            <a:srgbClr val="F2EFED"/>
          </a:solidFill>
        </p:spPr>
        <p:txBody>
          <a:bodyPr wrap="square">
            <a:noAutofit/>
          </a:bodyPr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9A940DB-C083-4850-DCDE-38E7B525A6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4D6EC2-D231-D08A-8162-4DCB3E1BFF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51B4773-D18E-AA1A-1BEA-C08A766076C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783969B0-C419-7879-8EA7-72AF0CA7B8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422" y="2706240"/>
            <a:ext cx="361112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4256823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c spac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tekst 22">
            <a:extLst>
              <a:ext uri="{FF2B5EF4-FFF2-40B4-BE49-F238E27FC236}">
                <a16:creationId xmlns:a16="http://schemas.microsoft.com/office/drawing/2014/main" id="{0EECDB0A-3F3B-DBE3-C32C-715F29E91A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114" y="1580249"/>
            <a:ext cx="3633115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309"/>
            <a:r>
              <a:rPr lang="en-US"/>
              <a:t>Click to edit Master text styles</a:t>
            </a:r>
          </a:p>
        </p:txBody>
      </p:sp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F0479665-9DC8-8925-3327-A3407B10BE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1745" y="1576389"/>
            <a:ext cx="1603407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D31B9B-2D56-F1E2-0C00-3D9571B263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8ADA60-27A2-50CF-7DEB-D2834BF655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C40599-0636-A660-D459-700566FE4E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25" name="Tijdelijke aanduiding voor tekst 24">
            <a:extLst>
              <a:ext uri="{FF2B5EF4-FFF2-40B4-BE49-F238E27FC236}">
                <a16:creationId xmlns:a16="http://schemas.microsoft.com/office/drawing/2014/main" id="{F0FE1857-A9F9-05FF-1376-11BD7EA789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39672" y="1637398"/>
            <a:ext cx="1815863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26" name="Tijdelijke aanduiding voor tekst 24">
            <a:extLst>
              <a:ext uri="{FF2B5EF4-FFF2-40B4-BE49-F238E27FC236}">
                <a16:creationId xmlns:a16="http://schemas.microsoft.com/office/drawing/2014/main" id="{1DB4D1CC-0BBD-9ED0-F7EC-CE01F65735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39672" y="2111211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27" name="Tijdelijke aanduiding voor tekst 24">
            <a:extLst>
              <a:ext uri="{FF2B5EF4-FFF2-40B4-BE49-F238E27FC236}">
                <a16:creationId xmlns:a16="http://schemas.microsoft.com/office/drawing/2014/main" id="{E3651053-0A81-E525-4526-BB1FD3193A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39672" y="2585024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28" name="Tijdelijke aanduiding voor tekst 22">
            <a:extLst>
              <a:ext uri="{FF2B5EF4-FFF2-40B4-BE49-F238E27FC236}">
                <a16:creationId xmlns:a16="http://schemas.microsoft.com/office/drawing/2014/main" id="{E9512E52-AF27-B0D3-C0D2-818B067839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91712" y="1580249"/>
            <a:ext cx="3633115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309"/>
            <a:r>
              <a:rPr lang="en-US"/>
              <a:t>Click to edit Master text styles</a:t>
            </a:r>
          </a:p>
        </p:txBody>
      </p:sp>
      <p:sp>
        <p:nvSpPr>
          <p:cNvPr id="29" name="Tijdelijke aanduiding voor afbeelding 28">
            <a:extLst>
              <a:ext uri="{FF2B5EF4-FFF2-40B4-BE49-F238E27FC236}">
                <a16:creationId xmlns:a16="http://schemas.microsoft.com/office/drawing/2014/main" id="{CC7C1EA0-C83B-BFBF-9DEE-5B542F3A601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279343" y="1576389"/>
            <a:ext cx="1603407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B1EE46F9-0D65-E257-4C1E-69BCDD33DD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7269" y="1637398"/>
            <a:ext cx="1815863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1FA2AF12-6226-DA44-46E3-BEE40B8FF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87269" y="2111211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5ABCBB2A-23EE-C746-572E-0008884BDB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87269" y="2585024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33" name="Tijdelijke aanduiding voor tekst 22">
            <a:extLst>
              <a:ext uri="{FF2B5EF4-FFF2-40B4-BE49-F238E27FC236}">
                <a16:creationId xmlns:a16="http://schemas.microsoft.com/office/drawing/2014/main" id="{8DAB9683-2408-C2CC-99B1-C60F84D6558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4114" y="3881023"/>
            <a:ext cx="3633115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309"/>
            <a:r>
              <a:rPr lang="en-US"/>
              <a:t>Click to edit Master text styles</a:t>
            </a:r>
          </a:p>
        </p:txBody>
      </p:sp>
      <p:sp>
        <p:nvSpPr>
          <p:cNvPr id="34" name="Tijdelijke aanduiding voor afbeelding 33">
            <a:extLst>
              <a:ext uri="{FF2B5EF4-FFF2-40B4-BE49-F238E27FC236}">
                <a16:creationId xmlns:a16="http://schemas.microsoft.com/office/drawing/2014/main" id="{CA32F1FC-A0B6-0151-E6CF-8EA1DC53282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745" y="3877163"/>
            <a:ext cx="1603407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35" name="Tijdelijke aanduiding voor tekst 24">
            <a:extLst>
              <a:ext uri="{FF2B5EF4-FFF2-40B4-BE49-F238E27FC236}">
                <a16:creationId xmlns:a16="http://schemas.microsoft.com/office/drawing/2014/main" id="{CF355DAA-3D50-BF7B-C885-37888FC0C3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39672" y="3938172"/>
            <a:ext cx="1815863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36" name="Tijdelijke aanduiding voor tekst 24">
            <a:extLst>
              <a:ext uri="{FF2B5EF4-FFF2-40B4-BE49-F238E27FC236}">
                <a16:creationId xmlns:a16="http://schemas.microsoft.com/office/drawing/2014/main" id="{92F7FCE7-20AC-7AAC-1AC9-2230E8635C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39672" y="4411985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37" name="Tijdelijke aanduiding voor tekst 24">
            <a:extLst>
              <a:ext uri="{FF2B5EF4-FFF2-40B4-BE49-F238E27FC236}">
                <a16:creationId xmlns:a16="http://schemas.microsoft.com/office/drawing/2014/main" id="{BA1026DC-B365-D2F2-3808-C97E5BDFE3B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39672" y="4885798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38" name="Tijdelijke aanduiding voor tekst 22">
            <a:extLst>
              <a:ext uri="{FF2B5EF4-FFF2-40B4-BE49-F238E27FC236}">
                <a16:creationId xmlns:a16="http://schemas.microsoft.com/office/drawing/2014/main" id="{9757A69A-0E67-1DBC-DE5D-F96DD0C6D8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91712" y="3881023"/>
            <a:ext cx="3633115" cy="2097303"/>
          </a:xfrm>
          <a:solidFill>
            <a:schemeClr val="bg2"/>
          </a:solidFill>
          <a:ln>
            <a:noFill/>
          </a:ln>
          <a:effectLst>
            <a:outerShdw blurRad="127000" dist="39872" dir="2760000" algn="c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nl-NL" sz="100" dirty="0">
                <a:noFill/>
                <a:latin typeface="Aptos" panose="020B0004020202020204" pitchFamily="34" charset="0"/>
              </a:defRPr>
            </a:lvl1pPr>
          </a:lstStyle>
          <a:p>
            <a:pPr lvl="0" algn="ctr" defTabSz="914309"/>
            <a:r>
              <a:rPr lang="en-US"/>
              <a:t>Click to edit Master text styles</a:t>
            </a:r>
          </a:p>
        </p:txBody>
      </p:sp>
      <p:sp>
        <p:nvSpPr>
          <p:cNvPr id="39" name="Tijdelijke aanduiding voor afbeelding 38">
            <a:extLst>
              <a:ext uri="{FF2B5EF4-FFF2-40B4-BE49-F238E27FC236}">
                <a16:creationId xmlns:a16="http://schemas.microsoft.com/office/drawing/2014/main" id="{127AB223-A471-0CBC-E96A-4771299EC3F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279343" y="3877163"/>
            <a:ext cx="1603407" cy="2105025"/>
          </a:xfrm>
          <a:custGeom>
            <a:avLst/>
            <a:gdLst>
              <a:gd name="connsiteX0" fmla="*/ 1434548 w 1603616"/>
              <a:gd name="connsiteY0" fmla="*/ 207900 h 2105025"/>
              <a:gd name="connsiteX1" fmla="*/ 1603616 w 1603616"/>
              <a:gd name="connsiteY1" fmla="*/ 382559 h 2105025"/>
              <a:gd name="connsiteX2" fmla="*/ 1434548 w 1603616"/>
              <a:gd name="connsiteY2" fmla="*/ 557216 h 2105025"/>
              <a:gd name="connsiteX3" fmla="*/ 0 w 1603616"/>
              <a:gd name="connsiteY3" fmla="*/ 0 h 2105025"/>
              <a:gd name="connsiteX4" fmla="*/ 1434548 w 1603616"/>
              <a:gd name="connsiteY4" fmla="*/ 0 h 2105025"/>
              <a:gd name="connsiteX5" fmla="*/ 1434548 w 1603616"/>
              <a:gd name="connsiteY5" fmla="*/ 207900 h 2105025"/>
              <a:gd name="connsiteX6" fmla="*/ 1434548 w 1603616"/>
              <a:gd name="connsiteY6" fmla="*/ 207900 h 2105025"/>
              <a:gd name="connsiteX7" fmla="*/ 1434548 w 1603616"/>
              <a:gd name="connsiteY7" fmla="*/ 557217 h 2105025"/>
              <a:gd name="connsiteX8" fmla="*/ 1434548 w 1603616"/>
              <a:gd name="connsiteY8" fmla="*/ 557216 h 2105025"/>
              <a:gd name="connsiteX9" fmla="*/ 1434548 w 1603616"/>
              <a:gd name="connsiteY9" fmla="*/ 2105025 h 2105025"/>
              <a:gd name="connsiteX10" fmla="*/ 0 w 1603616"/>
              <a:gd name="connsiteY10" fmla="*/ 2105025 h 21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3616" h="2105025">
                <a:moveTo>
                  <a:pt x="1434548" y="207900"/>
                </a:moveTo>
                <a:lnTo>
                  <a:pt x="1603616" y="382559"/>
                </a:lnTo>
                <a:lnTo>
                  <a:pt x="1434548" y="557216"/>
                </a:lnTo>
                <a:close/>
                <a:moveTo>
                  <a:pt x="0" y="0"/>
                </a:moveTo>
                <a:lnTo>
                  <a:pt x="1434548" y="0"/>
                </a:lnTo>
                <a:lnTo>
                  <a:pt x="1434548" y="207900"/>
                </a:lnTo>
                <a:lnTo>
                  <a:pt x="1434548" y="207900"/>
                </a:lnTo>
                <a:lnTo>
                  <a:pt x="1434548" y="557217"/>
                </a:lnTo>
                <a:lnTo>
                  <a:pt x="1434548" y="557216"/>
                </a:lnTo>
                <a:lnTo>
                  <a:pt x="1434548" y="2105025"/>
                </a:lnTo>
                <a:lnTo>
                  <a:pt x="0" y="2105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image</a:t>
            </a:r>
          </a:p>
        </p:txBody>
      </p:sp>
      <p:sp>
        <p:nvSpPr>
          <p:cNvPr id="40" name="Tijdelijke aanduiding voor tekst 24">
            <a:extLst>
              <a:ext uri="{FF2B5EF4-FFF2-40B4-BE49-F238E27FC236}">
                <a16:creationId xmlns:a16="http://schemas.microsoft.com/office/drawing/2014/main" id="{8CB5339B-E95B-436B-6445-2CC6366A7F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87269" y="3938172"/>
            <a:ext cx="1815863" cy="436328"/>
          </a:xfrm>
        </p:spPr>
        <p:txBody>
          <a:bodyPr anchor="b">
            <a:noAutofit/>
          </a:bodyPr>
          <a:lstStyle>
            <a:lvl1pPr>
              <a:defRPr lang="nl-NL" sz="14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Name</a:t>
            </a:r>
          </a:p>
        </p:txBody>
      </p:sp>
      <p:sp>
        <p:nvSpPr>
          <p:cNvPr id="41" name="Tijdelijke aanduiding voor tekst 24">
            <a:extLst>
              <a:ext uri="{FF2B5EF4-FFF2-40B4-BE49-F238E27FC236}">
                <a16:creationId xmlns:a16="http://schemas.microsoft.com/office/drawing/2014/main" id="{769B8132-AD98-D502-4125-80268A522F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87269" y="4411985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Role</a:t>
            </a:r>
            <a:endParaRPr lang="nl-NL"/>
          </a:p>
        </p:txBody>
      </p:sp>
      <p:sp>
        <p:nvSpPr>
          <p:cNvPr id="42" name="Tijdelijke aanduiding voor tekst 24">
            <a:extLst>
              <a:ext uri="{FF2B5EF4-FFF2-40B4-BE49-F238E27FC236}">
                <a16:creationId xmlns:a16="http://schemas.microsoft.com/office/drawing/2014/main" id="{B52CE6EE-B925-65A9-3728-D23B1B1764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7269" y="4885798"/>
            <a:ext cx="1815863" cy="436328"/>
          </a:xfrm>
        </p:spPr>
        <p:txBody>
          <a:bodyPr anchor="t">
            <a:noAutofit/>
          </a:bodyPr>
          <a:lstStyle>
            <a:lvl1pPr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Aptos" panose="020B0004020202020204" pitchFamily="34" charset="0"/>
              </a:defRPr>
            </a:lvl1pPr>
          </a:lstStyle>
          <a:p>
            <a:pPr lvl="0"/>
            <a:r>
              <a:rPr lang="nl-NL" err="1"/>
              <a:t>Faculty</a:t>
            </a:r>
            <a:endParaRPr lang="nl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89B438E-7250-7384-E525-FA039241B31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7619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c spac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789DAC3E-F024-AC44-97AE-3E8B420650A3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0295FA58-33EA-4383-82B8-1D8CB2FC754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6" name="Tekstvak 2">
            <a:extLst>
              <a:ext uri="{FF2B5EF4-FFF2-40B4-BE49-F238E27FC236}">
                <a16:creationId xmlns:a16="http://schemas.microsoft.com/office/drawing/2014/main" id="{293B0EC0-BC17-4795-FA99-C8ADCB45CCCA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F3FBA94-0A43-720B-BB31-157D9844CA8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06DE5BC2-E691-C38C-7E37-F1FF5C5DCBF4}"/>
              </a:ext>
            </a:extLst>
          </p:cNvPr>
          <p:cNvSpPr txBox="1"/>
          <p:nvPr/>
        </p:nvSpPr>
        <p:spPr>
          <a:xfrm>
            <a:off x="717754" y="638370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1A782C8E-163B-677B-2BFA-D25C6E19B31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5CAA35DA-1254-6E4A-3C16-E3B69FDB9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42B726BF-7D6C-A126-E8FD-4B43F574E2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7035D2F-F55E-FC9B-F649-09773DEA6F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F4364D5-FD8B-B0E6-4699-51F4E78611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72E796-0562-73EA-5614-C6BAEBE879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19E97F9-28B2-BE9A-924E-34775C3ECB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79342" y="1576388"/>
            <a:ext cx="7480715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007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faculty n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C65891C-A3A3-ED34-8C0A-7880DD6C4936}"/>
              </a:ext>
            </a:extLst>
          </p:cNvPr>
          <p:cNvSpPr/>
          <p:nvPr/>
        </p:nvSpPr>
        <p:spPr>
          <a:xfrm>
            <a:off x="0" y="2105026"/>
            <a:ext cx="12192000" cy="4747843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89570639-D439-CB4A-8E3A-DB14A209B15E}"/>
              </a:ext>
            </a:extLst>
          </p:cNvPr>
          <p:cNvSpPr/>
          <p:nvPr/>
        </p:nvSpPr>
        <p:spPr>
          <a:xfrm>
            <a:off x="0" y="94642"/>
            <a:ext cx="12192000" cy="2099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8B21107-69BE-D655-5B0A-073E48B5E36F}"/>
              </a:ext>
            </a:extLst>
          </p:cNvPr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2774" y="446882"/>
            <a:ext cx="682516" cy="784225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78B61334-9308-560B-A31A-ADD107ECA6B2}"/>
              </a:ext>
            </a:extLst>
          </p:cNvPr>
          <p:cNvSpPr/>
          <p:nvPr/>
        </p:nvSpPr>
        <p:spPr>
          <a:xfrm>
            <a:off x="431944" y="1576388"/>
            <a:ext cx="11327725" cy="4844480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5536FA4-54FE-4A9E-171E-B0DB9CF27A2C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887" y="482400"/>
            <a:ext cx="2343697" cy="565200"/>
          </a:xfrm>
          <a:prstGeom prst="rect">
            <a:avLst/>
          </a:prstGeom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AB20DBE5-98C5-2996-6E03-1F2E8A23DA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>
          <a:xfrm>
            <a:off x="863889" y="3867150"/>
            <a:ext cx="4801386" cy="212725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ubtitle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F25B9F-C539-D548-73C4-E555674A32B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863889" y="1940862"/>
            <a:ext cx="4801386" cy="1735419"/>
          </a:xfrm>
        </p:spPr>
        <p:txBody>
          <a:bodyPr anchor="b">
            <a:normAutofit/>
          </a:bodyPr>
          <a:lstStyle>
            <a:lvl1pPr algn="l">
              <a:defRPr lang="en-GB" sz="3200" b="0" i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en-GB" dirty="0"/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246A03B7-31E0-84F6-87BE-72F2AB39E65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7606" y="1576387"/>
            <a:ext cx="5662063" cy="4844479"/>
          </a:xfrm>
          <a:custGeom>
            <a:avLst/>
            <a:gdLst>
              <a:gd name="connsiteX0" fmla="*/ 0 w 5524498"/>
              <a:gd name="connsiteY0" fmla="*/ 0 h 4747844"/>
              <a:gd name="connsiteX1" fmla="*/ 5524498 w 5524498"/>
              <a:gd name="connsiteY1" fmla="*/ 0 h 4747844"/>
              <a:gd name="connsiteX2" fmla="*/ 5524498 w 5524498"/>
              <a:gd name="connsiteY2" fmla="*/ 4747844 h 4747844"/>
              <a:gd name="connsiteX3" fmla="*/ 0 w 5524498"/>
              <a:gd name="connsiteY3" fmla="*/ 4747844 h 4747844"/>
              <a:gd name="connsiteX4" fmla="*/ 0 w 5524498"/>
              <a:gd name="connsiteY4" fmla="*/ 685879 h 4747844"/>
              <a:gd name="connsiteX5" fmla="*/ 2063 w 5524498"/>
              <a:gd name="connsiteY5" fmla="*/ 688036 h 4747844"/>
              <a:gd name="connsiteX6" fmla="*/ 167133 w 5524498"/>
              <a:gd name="connsiteY6" fmla="*/ 515355 h 4747844"/>
              <a:gd name="connsiteX7" fmla="*/ 2063 w 5524498"/>
              <a:gd name="connsiteY7" fmla="*/ 342673 h 4747844"/>
              <a:gd name="connsiteX8" fmla="*/ 0 w 5524498"/>
              <a:gd name="connsiteY8" fmla="*/ 344831 h 4747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4498" h="4747844">
                <a:moveTo>
                  <a:pt x="0" y="0"/>
                </a:moveTo>
                <a:lnTo>
                  <a:pt x="5524498" y="0"/>
                </a:lnTo>
                <a:lnTo>
                  <a:pt x="5524498" y="4747844"/>
                </a:lnTo>
                <a:lnTo>
                  <a:pt x="0" y="4747844"/>
                </a:lnTo>
                <a:lnTo>
                  <a:pt x="0" y="685879"/>
                </a:lnTo>
                <a:lnTo>
                  <a:pt x="2063" y="688036"/>
                </a:lnTo>
                <a:lnTo>
                  <a:pt x="167133" y="515355"/>
                </a:lnTo>
                <a:lnTo>
                  <a:pt x="2063" y="342673"/>
                </a:lnTo>
                <a:lnTo>
                  <a:pt x="0" y="344831"/>
                </a:lnTo>
                <a:close/>
              </a:path>
            </a:pathLst>
          </a:custGeom>
        </p:spPr>
        <p:txBody>
          <a:bodyPr wrap="square" lIns="360000" tIns="360000" rIns="360000" bIns="360000" anchor="ctr" anchorCtr="0">
            <a:noAutofit/>
          </a:bodyPr>
          <a:lstStyle>
            <a:lvl1pPr algn="ctr">
              <a:defRPr sz="18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Tijdelijke aanduiding voor tekst 4">
            <a:extLst>
              <a:ext uri="{FF2B5EF4-FFF2-40B4-BE49-F238E27FC236}">
                <a16:creationId xmlns:a16="http://schemas.microsoft.com/office/drawing/2014/main" id="{A541CB9B-746B-BA92-9FAE-90C51D331E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1412" y="433633"/>
            <a:ext cx="3168311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 marL="0" indent="0" algn="l" defTabSz="685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ptos" panose="020B0004020202020204" pitchFamily="34" charset="0"/>
              <a:buNone/>
              <a:defRPr lang="nl-NL" sz="1100" b="0" i="0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/>
              <a:t>Type </a:t>
            </a:r>
            <a:r>
              <a:rPr lang="nl-NL" err="1"/>
              <a:t>faculty</a:t>
            </a:r>
            <a:r>
              <a:rPr lang="nl-NL"/>
              <a:t> or research </a:t>
            </a:r>
            <a:r>
              <a:rPr lang="nl-NL" err="1"/>
              <a:t>institute</a:t>
            </a:r>
            <a:r>
              <a:rPr lang="nl-NL"/>
              <a:t> name. 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only</a:t>
            </a:r>
            <a:r>
              <a:rPr lang="nl-NL"/>
              <a:t> VU logo is </a:t>
            </a:r>
            <a:r>
              <a:rPr lang="nl-NL" err="1"/>
              <a:t>needed</a:t>
            </a:r>
            <a:r>
              <a:rPr lang="nl-NL"/>
              <a:t>, </a:t>
            </a:r>
            <a:br>
              <a:rPr lang="nl-NL"/>
            </a:br>
            <a:r>
              <a:rPr lang="nl-NL" err="1"/>
              <a:t>choos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other</a:t>
            </a:r>
            <a:r>
              <a:rPr lang="nl-NL"/>
              <a:t> cover </a:t>
            </a:r>
            <a:r>
              <a:rPr lang="nl-NL" err="1"/>
              <a:t>layout</a:t>
            </a:r>
            <a:r>
              <a:rPr lang="nl-NL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16148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>
          <p15:clr>
            <a:srgbClr val="FBAE40"/>
          </p15:clr>
        </p15:guide>
        <p15:guide id="3" pos="3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2856" y="1576388"/>
            <a:ext cx="7468214" cy="4418012"/>
          </a:xfrm>
        </p:spPr>
        <p:txBody>
          <a:bodyPr/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72110CB8-C7B7-4DD1-8441-45E474EC81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ACCDB881-0014-8524-DFF1-7DAC4A0D1BE2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35A97D1-D86E-85E7-D601-FCFB317C5A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CC08748-9181-C279-355E-D681C6C5DAD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9DF92E0-FEBB-77C7-B880-8D660728C42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D07055D3-C543-77AB-7A53-0DE3FCED84F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1D08785-AC2D-687B-D9D5-B893D7B768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7738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6" name="Tijdelijke aanduiding voor tabel 5">
            <a:extLst>
              <a:ext uri="{FF2B5EF4-FFF2-40B4-BE49-F238E27FC236}">
                <a16:creationId xmlns:a16="http://schemas.microsoft.com/office/drawing/2014/main" id="{47E62785-8AAB-6D1E-69E3-B00A4B93325C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431745" y="1576389"/>
            <a:ext cx="7479326" cy="4418013"/>
          </a:xfrm>
        </p:spPr>
        <p:txBody>
          <a:bodyPr/>
          <a:lstStyle/>
          <a:p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able</a:t>
            </a:r>
            <a:r>
              <a:rPr lang="nl-NL" dirty="0"/>
              <a:t>, click on </a:t>
            </a:r>
            <a:r>
              <a:rPr lang="nl-NL" dirty="0" err="1"/>
              <a:t>the</a:t>
            </a:r>
            <a:r>
              <a:rPr lang="nl-NL" dirty="0"/>
              <a:t> icon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CF73558-6FAD-BEAA-D4AC-CE2BC06B21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9278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CCDCD8-5715-96D1-23B2-6EDA2E5B9E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FF2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972" tIns="215972" rIns="215972" bIns="2159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E1CA300-B451-A048-8408-FA52BBBC47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7D79DC2E-4F5A-E045-8370-A849FB985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91" y="450850"/>
            <a:ext cx="361112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36D40590-4D6C-4940-801D-F2770FBA85A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C279ED84-5350-31BA-AE1B-A96D1F31B032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490F6628-02BA-C82D-E859-1C8D180D7FE0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B5FF188E-E915-E4F8-7720-CAA0F4E0195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BB1E9EE5-938E-D823-DD58-232A910C39C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A00EA6AB-AD14-45E8-8C5B-D9DDF1A934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32091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CCDCD8-5715-96D1-23B2-6EDA2E5B9E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FF2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972" tIns="215972" rIns="215972" bIns="2159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7D79DC2E-4F5A-E045-8370-A849FB985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791" y="450850"/>
            <a:ext cx="3611129" cy="144552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r"/>
          </a:blipFill>
          <a:effectLst>
            <a:outerShdw blurRad="190500" dist="63500" dir="2700000" algn="tl" rotWithShape="0">
              <a:prstClr val="black">
                <a:alpha val="15000"/>
              </a:prstClr>
            </a:outerShdw>
          </a:effectLst>
        </p:spPr>
        <p:txBody>
          <a:bodyPr wrap="square" lIns="360000" tIns="270000" rIns="360000" bIns="270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5CA9"/>
                </a:solidFill>
              </a:defRPr>
            </a:lvl1pPr>
            <a:lvl2pPr marL="0" indent="0">
              <a:lnSpc>
                <a:spcPct val="100000"/>
              </a:lnSpc>
              <a:spcBef>
                <a:spcPts val="1500"/>
              </a:spcBef>
              <a:tabLst/>
              <a:defRPr sz="2200">
                <a:solidFill>
                  <a:schemeClr val="tx1"/>
                </a:solidFill>
              </a:defRPr>
            </a:lvl2pPr>
          </a:lstStyle>
          <a:p>
            <a:r>
              <a:rPr lang="nl-NL" err="1"/>
              <a:t>Title</a:t>
            </a:r>
            <a:endParaRPr lang="nl-NL"/>
          </a:p>
          <a:p>
            <a:pPr lvl="1"/>
            <a:r>
              <a:rPr lang="nl-NL"/>
              <a:t>Body</a:t>
            </a:r>
          </a:p>
        </p:txBody>
      </p:sp>
      <p:sp>
        <p:nvSpPr>
          <p:cNvPr id="4" name="TypeTextLevel" hidden="1">
            <a:extLst>
              <a:ext uri="{FF2B5EF4-FFF2-40B4-BE49-F238E27FC236}">
                <a16:creationId xmlns:a16="http://schemas.microsoft.com/office/drawing/2014/main" id="{36D40590-4D6C-4940-801D-F2770FBA85A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C279ED84-5350-31BA-AE1B-A96D1F31B032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490F6628-02BA-C82D-E859-1C8D180D7FE0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Caption</a:t>
            </a:r>
            <a:endParaRPr lang="nl-NL" sz="800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B5FF188E-E915-E4F8-7720-CAA0F4E0195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BB1E9EE5-938E-D823-DD58-232A910C39C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A00EA6AB-AD14-45E8-8C5B-D9DDF1A934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8931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8DE7B067-3B39-4C45-8542-7786B2F08212}"/>
              </a:ext>
            </a:extLst>
          </p:cNvPr>
          <p:cNvSpPr/>
          <p:nvPr/>
        </p:nvSpPr>
        <p:spPr>
          <a:xfrm>
            <a:off x="0" y="-1"/>
            <a:ext cx="12290323" cy="6858001"/>
          </a:xfrm>
          <a:prstGeom prst="rect">
            <a:avLst/>
          </a:prstGeom>
          <a:solidFill>
            <a:srgbClr val="0077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9D4AC89-CCE6-6049-A5FF-F2EE4C7D01C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0" hasCustomPrompt="1"/>
          </p:nvPr>
        </p:nvSpPr>
        <p:spPr>
          <a:xfrm>
            <a:off x="442743" y="442800"/>
            <a:ext cx="11306515" cy="5972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4000">
                <a:ln>
                  <a:noFill/>
                </a:ln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ypeTextLevel" hidden="1">
            <a:extLst>
              <a:ext uri="{FF2B5EF4-FFF2-40B4-BE49-F238E27FC236}">
                <a16:creationId xmlns:a16="http://schemas.microsoft.com/office/drawing/2014/main" id="{65456933-FC8C-49C9-8667-FA951FB0C6FA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  <p:sp>
        <p:nvSpPr>
          <p:cNvPr id="6" name="TypeTextLevel" hidden="1">
            <a:extLst>
              <a:ext uri="{FF2B5EF4-FFF2-40B4-BE49-F238E27FC236}">
                <a16:creationId xmlns:a16="http://schemas.microsoft.com/office/drawing/2014/main" id="{5A711593-52A7-D765-F538-F76BA2FAA6B9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6A99E1AD-A343-49DC-91E0-1C128A46C61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NoLevel</a:t>
            </a:r>
            <a:endParaRPr lang="nl-NL" sz="800"/>
          </a:p>
        </p:txBody>
      </p:sp>
    </p:spTree>
    <p:extLst>
      <p:ext uri="{BB962C8B-B14F-4D97-AF65-F5344CB8AC3E}">
        <p14:creationId xmlns:p14="http://schemas.microsoft.com/office/powerpoint/2010/main" val="3026232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1">
          <p15:clr>
            <a:srgbClr val="FBAE40"/>
          </p15:clr>
        </p15:guide>
        <p15:guide id="3" pos="272">
          <p15:clr>
            <a:srgbClr val="FBAE40"/>
          </p15:clr>
        </p15:guide>
        <p15:guide id="4" pos="7408">
          <p15:clr>
            <a:srgbClr val="FBAE40"/>
          </p15:clr>
        </p15:guide>
        <p15:guide id="5" orient="horz">
          <p15:clr>
            <a:srgbClr val="FBAE40"/>
          </p15:clr>
        </p15:guide>
        <p15:guide id="6" orient="horz" pos="4320">
          <p15:clr>
            <a:srgbClr val="FBAE40"/>
          </p15:clr>
        </p15:guide>
        <p15:guide id="7" orient="horz" pos="272">
          <p15:clr>
            <a:srgbClr val="FBAE40"/>
          </p15:clr>
        </p15:guide>
        <p15:guide id="8" orient="horz" pos="404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266338" y="1576388"/>
            <a:ext cx="7493918" cy="4418012"/>
          </a:xfrm>
        </p:spPr>
        <p:txBody>
          <a:bodyPr/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A50F3ED2-12D9-322A-A169-1874133D1EEA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F8FC23E-0318-8C64-5F32-6DF167F56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8" name="Tijdelijke aanduiding voor datum 7">
            <a:extLst>
              <a:ext uri="{FF2B5EF4-FFF2-40B4-BE49-F238E27FC236}">
                <a16:creationId xmlns:a16="http://schemas.microsoft.com/office/drawing/2014/main" id="{B9AD48F4-8A39-FAE5-E9FA-592814D7A47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9" name="Tijdelijke aanduiding voor voettekst 8">
            <a:extLst>
              <a:ext uri="{FF2B5EF4-FFF2-40B4-BE49-F238E27FC236}">
                <a16:creationId xmlns:a16="http://schemas.microsoft.com/office/drawing/2014/main" id="{253E185E-CEF4-9EE7-200E-972F81F470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12578079-FC54-ABE6-75E2-A6CEC80CB1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5CF6132B-474C-9D29-B543-5E636B2A8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650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810C2A13-CF92-47CC-8BB1-C1C4211AF7A8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ijdelijke aanduiding voor grafiek 2">
            <a:extLst>
              <a:ext uri="{FF2B5EF4-FFF2-40B4-BE49-F238E27FC236}">
                <a16:creationId xmlns:a16="http://schemas.microsoft.com/office/drawing/2014/main" id="{6242F550-7723-ABC9-E589-07CBDDF4ACF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42856" y="1576388"/>
            <a:ext cx="7468214" cy="4418012"/>
          </a:xfrm>
        </p:spPr>
        <p:txBody>
          <a:bodyPr/>
          <a:lstStyle/>
          <a:p>
            <a:r>
              <a:rPr lang="nl-NL" dirty="0"/>
              <a:t>Click on </a:t>
            </a:r>
            <a:r>
              <a:rPr lang="nl-NL" dirty="0" err="1"/>
              <a:t>the</a:t>
            </a:r>
            <a:r>
              <a:rPr lang="nl-NL" dirty="0"/>
              <a:t> icon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A50F3ED2-12D9-322A-A169-1874133D1EEA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F8FC23E-0318-8C64-5F32-6DF167F56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2829266-85BF-DA81-ECF1-ED64C5BC405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AD1558C-E821-A1A3-AFEC-E51DDB20EBB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1F851B3-D4F1-06F5-3A98-FAE71E3793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62ED1A9-9145-6156-F2A5-72060403844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9720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43" y="-1"/>
            <a:ext cx="11345582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ACF1038D-30ED-296B-FD3A-781692693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6908" y="2139304"/>
            <a:ext cx="1363153" cy="1363331"/>
          </a:xfrm>
          <a:prstGeom prst="ellipse">
            <a:avLst/>
          </a:prstGeom>
          <a:solidFill>
            <a:schemeClr val="accent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FA598ED2-D5C7-EE42-132E-A167C28A1B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4101" y="2139304"/>
            <a:ext cx="1363153" cy="1363331"/>
          </a:xfrm>
          <a:prstGeom prst="ellipse">
            <a:avLst/>
          </a:prstGeom>
          <a:solidFill>
            <a:srgbClr val="F3BA30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4" name="Tijdelijke aanduiding voor tekst 11">
            <a:extLst>
              <a:ext uri="{FF2B5EF4-FFF2-40B4-BE49-F238E27FC236}">
                <a16:creationId xmlns:a16="http://schemas.microsoft.com/office/drawing/2014/main" id="{3DD24851-04AF-12AB-FE60-AD021984BF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36908" y="4076736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5" name="Tijdelijke aanduiding voor tekst 11">
            <a:extLst>
              <a:ext uri="{FF2B5EF4-FFF2-40B4-BE49-F238E27FC236}">
                <a16:creationId xmlns:a16="http://schemas.microsoft.com/office/drawing/2014/main" id="{EAAE9CDC-F402-04DD-0172-48062FF69A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4101" y="4076736"/>
            <a:ext cx="1363153" cy="1363331"/>
          </a:xfrm>
          <a:prstGeom prst="ellipse">
            <a:avLst/>
          </a:prstGeom>
          <a:solidFill>
            <a:srgbClr val="E8692D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6" name="Tijdelijke aanduiding voor tekst 11">
            <a:extLst>
              <a:ext uri="{FF2B5EF4-FFF2-40B4-BE49-F238E27FC236}">
                <a16:creationId xmlns:a16="http://schemas.microsoft.com/office/drawing/2014/main" id="{AC94189A-1D86-4128-8650-AFBFEA7D76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94698" y="3277633"/>
            <a:ext cx="1012765" cy="1012897"/>
          </a:xfrm>
          <a:prstGeom prst="ellipse">
            <a:avLst/>
          </a:prstGeom>
          <a:solidFill>
            <a:schemeClr val="bg2">
              <a:lumMod val="95000"/>
            </a:schemeClr>
          </a:solidFill>
        </p:spPr>
        <p:txBody>
          <a:bodyPr vert="horz" wrap="none" lIns="0" tIns="0" rIns="0" bIns="0" rtlCol="0" anchor="ctr">
            <a:noAutofit/>
          </a:bodyPr>
          <a:lstStyle>
            <a:lvl1pPr algn="ctr">
              <a:defRPr kumimoji="0" lang="nl-NL" b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defRPr>
            </a:lvl1pPr>
          </a:lstStyle>
          <a:p>
            <a:pPr marR="0" lvl="0" algn="ctr" defTabSz="914309" fontAlgn="auto">
              <a:spcAft>
                <a:spcPts val="0"/>
              </a:spcAft>
              <a:buClrTx/>
              <a:buSzTx/>
              <a:buFontTx/>
              <a:tabLst/>
            </a:pPr>
            <a:r>
              <a:rPr lang="nl-NL" sz="2000" err="1">
                <a:solidFill>
                  <a:schemeClr val="tx1"/>
                </a:solidFill>
                <a:latin typeface="Aptos Display" panose="020B0004020202020204" pitchFamily="34" charset="0"/>
              </a:rPr>
              <a:t>title</a:t>
            </a:r>
            <a:endParaRPr lang="nl-NL" sz="2000">
              <a:solidFill>
                <a:schemeClr val="tx1"/>
              </a:solidFill>
              <a:latin typeface="Aptos Display" panose="020B000402020202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69DED3B8-C92B-B7AF-2787-4155B044588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92599" y="2495421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19" name="Tijdelijke aanduiding voor afbeelding 17">
            <a:extLst>
              <a:ext uri="{FF2B5EF4-FFF2-40B4-BE49-F238E27FC236}">
                <a16:creationId xmlns:a16="http://schemas.microsoft.com/office/drawing/2014/main" id="{52BDA4E1-0A93-0F7E-A632-C7C852E902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729793" y="2495421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0" name="Tijdelijke aanduiding voor afbeelding 17">
            <a:extLst>
              <a:ext uri="{FF2B5EF4-FFF2-40B4-BE49-F238E27FC236}">
                <a16:creationId xmlns:a16="http://schemas.microsoft.com/office/drawing/2014/main" id="{9DA37489-305F-F3E3-86FD-B7E5E7D377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92599" y="4432852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1" name="Tijdelijke aanduiding voor afbeelding 17">
            <a:extLst>
              <a:ext uri="{FF2B5EF4-FFF2-40B4-BE49-F238E27FC236}">
                <a16:creationId xmlns:a16="http://schemas.microsoft.com/office/drawing/2014/main" id="{7F6C8360-C076-F1E4-90E0-BA8C0FA054D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29793" y="4432852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7" name="Tijdelijke aanduiding voor tekst 24">
            <a:extLst>
              <a:ext uri="{FF2B5EF4-FFF2-40B4-BE49-F238E27FC236}">
                <a16:creationId xmlns:a16="http://schemas.microsoft.com/office/drawing/2014/main" id="{C05CAE12-FF59-F52B-13A4-F043866C51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55544" y="2139303"/>
            <a:ext cx="1707927" cy="436328"/>
          </a:xfrm>
        </p:spPr>
        <p:txBody>
          <a:bodyPr anchor="b">
            <a:noAutofit/>
          </a:bodyPr>
          <a:lstStyle>
            <a:lvl1pPr algn="r">
              <a:defRPr lang="nl-NL" sz="1600" b="1" kern="1200" dirty="0">
                <a:solidFill>
                  <a:srgbClr val="4FAF4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Strenghts</a:t>
            </a:r>
            <a:endParaRPr lang="nl-NL"/>
          </a:p>
        </p:txBody>
      </p:sp>
      <p:sp>
        <p:nvSpPr>
          <p:cNvPr id="28" name="Tijdelijke aanduiding voor tekst 24">
            <a:extLst>
              <a:ext uri="{FF2B5EF4-FFF2-40B4-BE49-F238E27FC236}">
                <a16:creationId xmlns:a16="http://schemas.microsoft.com/office/drawing/2014/main" id="{BC8817D3-5FC3-2EAB-37EE-54DF6AF762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55544" y="2613116"/>
            <a:ext cx="1707927" cy="1068297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 dirty="0"/>
              <a:t>Details</a:t>
            </a:r>
          </a:p>
        </p:txBody>
      </p:sp>
      <p:sp>
        <p:nvSpPr>
          <p:cNvPr id="29" name="Tijdelijke aanduiding voor tekst 24">
            <a:extLst>
              <a:ext uri="{FF2B5EF4-FFF2-40B4-BE49-F238E27FC236}">
                <a16:creationId xmlns:a16="http://schemas.microsoft.com/office/drawing/2014/main" id="{EA553E71-3299-39EF-29FF-CF96B7ED2BA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6942" y="2139303"/>
            <a:ext cx="1707927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F3BA30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Weakness</a:t>
            </a:r>
            <a:endParaRPr lang="nl-NL"/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73697669-61CE-1436-85B6-974B87CDCC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6942" y="2613116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A58AB3DB-0FEF-B702-5751-2C5F42D002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5544" y="4077618"/>
            <a:ext cx="1707927" cy="436328"/>
          </a:xfrm>
        </p:spPr>
        <p:txBody>
          <a:bodyPr anchor="b">
            <a:noAutofit/>
          </a:bodyPr>
          <a:lstStyle>
            <a:lvl1pPr algn="r">
              <a:defRPr lang="nl-NL" sz="16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Opportunities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EDA42C42-7886-322E-1941-6D1ED8850A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55544" y="4551431"/>
            <a:ext cx="1707927" cy="1068297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3" name="Tijdelijke aanduiding voor tekst 24">
            <a:extLst>
              <a:ext uri="{FF2B5EF4-FFF2-40B4-BE49-F238E27FC236}">
                <a16:creationId xmlns:a16="http://schemas.microsoft.com/office/drawing/2014/main" id="{45C7E3C4-6FBD-0782-B645-29ED2FB24A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38689" y="4077618"/>
            <a:ext cx="1707927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E8692D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Threats</a:t>
            </a:r>
            <a:endParaRPr lang="nl-NL"/>
          </a:p>
        </p:txBody>
      </p:sp>
      <p:sp>
        <p:nvSpPr>
          <p:cNvPr id="34" name="Tijdelijke aanduiding voor tekst 24">
            <a:extLst>
              <a:ext uri="{FF2B5EF4-FFF2-40B4-BE49-F238E27FC236}">
                <a16:creationId xmlns:a16="http://schemas.microsoft.com/office/drawing/2014/main" id="{936F3B35-905F-0C05-2CC6-F03667A3EB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8689" y="4551431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3609090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43" y="-1"/>
            <a:ext cx="11345582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ACF1038D-30ED-296B-FD3A-781692693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27990" y="1944850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FA598ED2-D5C7-EE42-132E-A167C28A1B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1750" y="1950847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4" name="Tijdelijke aanduiding voor tekst 11">
            <a:extLst>
              <a:ext uri="{FF2B5EF4-FFF2-40B4-BE49-F238E27FC236}">
                <a16:creationId xmlns:a16="http://schemas.microsoft.com/office/drawing/2014/main" id="{3DD24851-04AF-12AB-FE60-AD021984BF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231" y="1944850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5" name="Tijdelijke aanduiding voor tekst 11">
            <a:extLst>
              <a:ext uri="{FF2B5EF4-FFF2-40B4-BE49-F238E27FC236}">
                <a16:creationId xmlns:a16="http://schemas.microsoft.com/office/drawing/2014/main" id="{EAAE9CDC-F402-04DD-0172-48062FF69A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5509" y="1931603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69DED3B8-C92B-B7AF-2787-4155B044588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883722" y="2300967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19" name="Tijdelijke aanduiding voor afbeelding 17">
            <a:extLst>
              <a:ext uri="{FF2B5EF4-FFF2-40B4-BE49-F238E27FC236}">
                <a16:creationId xmlns:a16="http://schemas.microsoft.com/office/drawing/2014/main" id="{52BDA4E1-0A93-0F7E-A632-C7C852E902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07441" y="2306964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0" name="Tijdelijke aanduiding voor afbeelding 17">
            <a:extLst>
              <a:ext uri="{FF2B5EF4-FFF2-40B4-BE49-F238E27FC236}">
                <a16:creationId xmlns:a16="http://schemas.microsoft.com/office/drawing/2014/main" id="{9DA37489-305F-F3E3-86FD-B7E5E7D377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59923" y="2300967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Icon</a:t>
            </a:r>
          </a:p>
        </p:txBody>
      </p:sp>
      <p:sp>
        <p:nvSpPr>
          <p:cNvPr id="21" name="Tijdelijke aanduiding voor afbeelding 17">
            <a:extLst>
              <a:ext uri="{FF2B5EF4-FFF2-40B4-BE49-F238E27FC236}">
                <a16:creationId xmlns:a16="http://schemas.microsoft.com/office/drawing/2014/main" id="{7F6C8360-C076-F1E4-90E0-BA8C0FA054D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31200" y="2287720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8" name="Tijdelijke aanduiding voor tekst 24">
            <a:extLst>
              <a:ext uri="{FF2B5EF4-FFF2-40B4-BE49-F238E27FC236}">
                <a16:creationId xmlns:a16="http://schemas.microsoft.com/office/drawing/2014/main" id="{BC8817D3-5FC3-2EAB-37EE-54DF6AF762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84736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0" name="Tijdelijke aanduiding voor tekst 24">
            <a:extLst>
              <a:ext uri="{FF2B5EF4-FFF2-40B4-BE49-F238E27FC236}">
                <a16:creationId xmlns:a16="http://schemas.microsoft.com/office/drawing/2014/main" id="{73697669-61CE-1436-85B6-974B87CDCC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7267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1" name="Tijdelijke aanduiding voor tekst 24">
            <a:extLst>
              <a:ext uri="{FF2B5EF4-FFF2-40B4-BE49-F238E27FC236}">
                <a16:creationId xmlns:a16="http://schemas.microsoft.com/office/drawing/2014/main" id="{A58AB3DB-0FEF-B702-5751-2C5F42D0021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62206" y="3691092"/>
            <a:ext cx="1707927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32" name="Tijdelijke aanduiding voor tekst 24">
            <a:extLst>
              <a:ext uri="{FF2B5EF4-FFF2-40B4-BE49-F238E27FC236}">
                <a16:creationId xmlns:a16="http://schemas.microsoft.com/office/drawing/2014/main" id="{EDA42C42-7886-322E-1941-6D1ED8850A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62206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4" name="Tijdelijke aanduiding voor tekst 24">
            <a:extLst>
              <a:ext uri="{FF2B5EF4-FFF2-40B4-BE49-F238E27FC236}">
                <a16:creationId xmlns:a16="http://schemas.microsoft.com/office/drawing/2014/main" id="{936F3B35-905F-0C05-2CC6-F03667A3EB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29797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17" name="Tijdelijke aanduiding voor tekst 11">
            <a:extLst>
              <a:ext uri="{FF2B5EF4-FFF2-40B4-BE49-F238E27FC236}">
                <a16:creationId xmlns:a16="http://schemas.microsoft.com/office/drawing/2014/main" id="{EAE29FCE-BB26-DB17-58FE-69373789ED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99269" y="1931603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22" name="Tijdelijke aanduiding voor afbeelding 17">
            <a:extLst>
              <a:ext uri="{FF2B5EF4-FFF2-40B4-BE49-F238E27FC236}">
                <a16:creationId xmlns:a16="http://schemas.microsoft.com/office/drawing/2014/main" id="{F7E61329-26B3-E114-E1A2-04BBB56F4D8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54960" y="2287720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DD758F4E-5DB3-B351-52B2-485A5B5790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3029" y="1931603"/>
            <a:ext cx="1363153" cy="1363331"/>
          </a:xfrm>
          <a:prstGeom prst="ellipse">
            <a:avLst/>
          </a:prstGeom>
          <a:solidFill>
            <a:srgbClr val="0077B3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.</a:t>
            </a:r>
          </a:p>
        </p:txBody>
      </p:sp>
      <p:sp>
        <p:nvSpPr>
          <p:cNvPr id="24" name="Tijdelijke aanduiding voor afbeelding 17">
            <a:extLst>
              <a:ext uri="{FF2B5EF4-FFF2-40B4-BE49-F238E27FC236}">
                <a16:creationId xmlns:a16="http://schemas.microsoft.com/office/drawing/2014/main" id="{F6728F44-6395-1E42-FC66-2497AF37FAD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578720" y="2287720"/>
            <a:ext cx="651769" cy="651096"/>
          </a:xfrm>
        </p:spPr>
        <p:txBody>
          <a:bodyPr anchor="ctr">
            <a:normAutofit/>
          </a:bodyPr>
          <a:lstStyle>
            <a:lvl1pPr algn="ctr">
              <a:defRPr sz="600">
                <a:solidFill>
                  <a:schemeClr val="bg2"/>
                </a:solidFill>
              </a:defRPr>
            </a:lvl1pPr>
          </a:lstStyle>
          <a:p>
            <a:r>
              <a:rPr lang="nl-NL"/>
              <a:t>Icon</a:t>
            </a:r>
          </a:p>
        </p:txBody>
      </p:sp>
      <p:sp>
        <p:nvSpPr>
          <p:cNvPr id="26" name="Tijdelijke aanduiding voor tekst 24">
            <a:extLst>
              <a:ext uri="{FF2B5EF4-FFF2-40B4-BE49-F238E27FC236}">
                <a16:creationId xmlns:a16="http://schemas.microsoft.com/office/drawing/2014/main" id="{D705D414-994D-81A8-D45E-C4FFDDECF7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9675" y="3691092"/>
            <a:ext cx="1707927" cy="436328"/>
          </a:xfrm>
        </p:spPr>
        <p:txBody>
          <a:bodyPr anchor="b">
            <a:noAutofit/>
          </a:bodyPr>
          <a:lstStyle>
            <a:lvl1pPr>
              <a:defRPr lang="nl-NL" sz="1600" b="1" kern="1200" dirty="0">
                <a:solidFill>
                  <a:srgbClr val="0077B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35" name="Tijdelijke aanduiding voor tekst 24">
            <a:extLst>
              <a:ext uri="{FF2B5EF4-FFF2-40B4-BE49-F238E27FC236}">
                <a16:creationId xmlns:a16="http://schemas.microsoft.com/office/drawing/2014/main" id="{943FE81D-2D6B-E2AA-E6B3-6B41B18A0B5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675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37" name="Tijdelijke aanduiding voor tekst 24">
            <a:extLst>
              <a:ext uri="{FF2B5EF4-FFF2-40B4-BE49-F238E27FC236}">
                <a16:creationId xmlns:a16="http://schemas.microsoft.com/office/drawing/2014/main" id="{B83AD5DD-6953-C57A-DA42-402630F3263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52330" y="4164905"/>
            <a:ext cx="1707927" cy="1068297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Aft>
                <a:spcPts val="600"/>
              </a:spcAft>
              <a:defRPr lang="nl-N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l-NL"/>
              <a:t>Details</a:t>
            </a:r>
          </a:p>
        </p:txBody>
      </p:sp>
      <p:sp>
        <p:nvSpPr>
          <p:cNvPr id="6" name="Tijdelijke aanduiding voor tekst 24">
            <a:extLst>
              <a:ext uri="{FF2B5EF4-FFF2-40B4-BE49-F238E27FC236}">
                <a16:creationId xmlns:a16="http://schemas.microsoft.com/office/drawing/2014/main" id="{243C9549-E64B-BC91-C560-4C0B2019F98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79343" y="3691092"/>
            <a:ext cx="1707927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7" name="Tijdelijke aanduiding voor tekst 24">
            <a:extLst>
              <a:ext uri="{FF2B5EF4-FFF2-40B4-BE49-F238E27FC236}">
                <a16:creationId xmlns:a16="http://schemas.microsoft.com/office/drawing/2014/main" id="{B62B8306-419E-0FF2-1166-AE257AA0BA3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4733" y="3691092"/>
            <a:ext cx="1707927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8" name="Tijdelijke aanduiding voor tekst 24">
            <a:extLst>
              <a:ext uri="{FF2B5EF4-FFF2-40B4-BE49-F238E27FC236}">
                <a16:creationId xmlns:a16="http://schemas.microsoft.com/office/drawing/2014/main" id="{DDBB2375-1D5E-8500-DF97-445BC2F84E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29797" y="3691092"/>
            <a:ext cx="1707927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  <p:sp>
        <p:nvSpPr>
          <p:cNvPr id="9" name="Tijdelijke aanduiding voor tekst 24">
            <a:extLst>
              <a:ext uri="{FF2B5EF4-FFF2-40B4-BE49-F238E27FC236}">
                <a16:creationId xmlns:a16="http://schemas.microsoft.com/office/drawing/2014/main" id="{C68537F8-7A57-286A-D74C-783A364C1ED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52330" y="3691092"/>
            <a:ext cx="1707927" cy="436328"/>
          </a:xfrm>
        </p:spPr>
        <p:txBody>
          <a:bodyPr vert="horz" lIns="0" tIns="0" rIns="0" bIns="0" rtlCol="0" anchor="b">
            <a:noAutofit/>
          </a:bodyPr>
          <a:lstStyle>
            <a:lvl1pPr>
              <a:defRPr lang="nl-NL" sz="1600" b="1" dirty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00060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4228-80CE-5E66-3135-FBB0775A43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43" y="-1"/>
            <a:ext cx="11345582" cy="114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A784A1E-8FFE-FF10-29E7-5137AECE6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F85B7CB-4E72-CF17-275C-8270105E5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019521-44CB-2131-E21F-8C2F108B3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13279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11328512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nl-NL" dirty="0"/>
              <a:t>Head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1342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7547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onsors/partners, VU logo only">
    <p:bg>
      <p:bgPr>
        <a:solidFill>
          <a:srgbClr val="F2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8D432198-0C84-3D05-D248-CEFA63544C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969" y="2159000"/>
            <a:ext cx="12184063" cy="46990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972" tIns="215972" rIns="215972" bIns="2159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AD303578-903C-A34A-AF9B-392F1BD2B760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5" name="TypeTextLevel">
            <a:extLst>
              <a:ext uri="{FF2B5EF4-FFF2-40B4-BE49-F238E27FC236}">
                <a16:creationId xmlns:a16="http://schemas.microsoft.com/office/drawing/2014/main" id="{D6489275-1A54-4253-9B79-42FA5F1E321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83FBF2E-73CB-2744-ABB2-73A4A75C7B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2" name="Rechthoek 10">
            <a:extLst>
              <a:ext uri="{FF2B5EF4-FFF2-40B4-BE49-F238E27FC236}">
                <a16:creationId xmlns:a16="http://schemas.microsoft.com/office/drawing/2014/main" id="{A1E4614B-F8C1-F807-0D19-4A2AC0E259EF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3" name="TypeTextLevel">
            <a:extLst>
              <a:ext uri="{FF2B5EF4-FFF2-40B4-BE49-F238E27FC236}">
                <a16:creationId xmlns:a16="http://schemas.microsoft.com/office/drawing/2014/main" id="{5FB4F674-32B3-8E78-FF3A-7F7F5276A12B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4" name="Afbeelding 5">
            <a:extLst>
              <a:ext uri="{FF2B5EF4-FFF2-40B4-BE49-F238E27FC236}">
                <a16:creationId xmlns:a16="http://schemas.microsoft.com/office/drawing/2014/main" id="{6F322878-98A8-CCB3-BCCA-67EE227609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7" name="Rechthoek 10">
            <a:extLst>
              <a:ext uri="{FF2B5EF4-FFF2-40B4-BE49-F238E27FC236}">
                <a16:creationId xmlns:a16="http://schemas.microsoft.com/office/drawing/2014/main" id="{CFF6F5A1-FCB1-A410-77D0-054CE5B6C702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TypeTextLevel">
            <a:extLst>
              <a:ext uri="{FF2B5EF4-FFF2-40B4-BE49-F238E27FC236}">
                <a16:creationId xmlns:a16="http://schemas.microsoft.com/office/drawing/2014/main" id="{C66410A8-605F-4D5A-7060-BCD136B075F3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pic>
        <p:nvPicPr>
          <p:cNvPr id="10" name="Afbeelding 5">
            <a:extLst>
              <a:ext uri="{FF2B5EF4-FFF2-40B4-BE49-F238E27FC236}">
                <a16:creationId xmlns:a16="http://schemas.microsoft.com/office/drawing/2014/main" id="{CC9CFB68-64C3-93DE-E7D8-9829908764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B428526-287A-244A-8A85-27B89673C4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8" hasCustomPrompt="1"/>
          </p:nvPr>
        </p:nvSpPr>
        <p:spPr>
          <a:xfrm>
            <a:off x="450792" y="1576388"/>
            <a:ext cx="11298352" cy="2316176"/>
          </a:xfrm>
          <a:prstGeom prst="rect">
            <a:avLst/>
          </a:pr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100000" sy="100000" flip="none" algn="bl"/>
          </a:blipFill>
        </p:spPr>
        <p:txBody>
          <a:bodyPr wrap="square" lIns="442800" tIns="442800" rIns="442800" bIns="442800">
            <a:spAutoFit/>
          </a:bodyPr>
          <a:lstStyle>
            <a:lvl1pPr>
              <a:lnSpc>
                <a:spcPct val="90000"/>
              </a:lnSpc>
              <a:spcAft>
                <a:spcPts val="1200"/>
              </a:spcAft>
              <a:defRPr sz="3200" b="1" i="0">
                <a:solidFill>
                  <a:schemeClr val="bg2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</p:txBody>
      </p:sp>
    </p:spTree>
    <p:extLst>
      <p:ext uri="{BB962C8B-B14F-4D97-AF65-F5344CB8AC3E}">
        <p14:creationId xmlns:p14="http://schemas.microsoft.com/office/powerpoint/2010/main" val="107048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2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onsors/partners, faculty/department">
    <p:bg>
      <p:bgPr>
        <a:solidFill>
          <a:srgbClr val="F2EF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DA370F1E-3BAF-1B37-EF10-3C2B67B065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969" y="2159000"/>
            <a:ext cx="12184063" cy="46990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972" tIns="215972" rIns="215972" bIns="2159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800" err="1">
              <a:solidFill>
                <a:schemeClr val="bg2"/>
              </a:solidFill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AD303578-903C-A34A-AF9B-392F1BD2B760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044E1D69-4E50-474F-B8E2-B92F4F8635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1412" y="455858"/>
            <a:ext cx="2902365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>
              <a:lnSpc>
                <a:spcPct val="100000"/>
              </a:lnSpc>
              <a:defRPr sz="1100" cap="all" baseline="0">
                <a:solidFill>
                  <a:schemeClr val="tx1"/>
                </a:solidFill>
              </a:defRPr>
            </a:lvl1pPr>
          </a:lstStyle>
          <a:p>
            <a:r>
              <a:rPr lang="nl-NL"/>
              <a:t>Type </a:t>
            </a:r>
            <a:r>
              <a:rPr lang="nl-NL" err="1"/>
              <a:t>faculty</a:t>
            </a:r>
            <a:r>
              <a:rPr lang="nl-NL"/>
              <a:t> or </a:t>
            </a:r>
            <a:r>
              <a:rPr lang="nl-NL" err="1"/>
              <a:t>department</a:t>
            </a:r>
            <a:r>
              <a:rPr lang="nl-NL"/>
              <a:t> name here. (</a:t>
            </a:r>
            <a:r>
              <a:rPr lang="nl-NL" err="1"/>
              <a:t>If</a:t>
            </a:r>
            <a:r>
              <a:rPr lang="nl-NL"/>
              <a:t> </a:t>
            </a:r>
            <a:r>
              <a:rPr lang="nl-NL" err="1"/>
              <a:t>only</a:t>
            </a:r>
            <a:r>
              <a:rPr lang="nl-NL"/>
              <a:t> VU logo is </a:t>
            </a:r>
            <a:r>
              <a:rPr lang="nl-NL" err="1"/>
              <a:t>needed</a:t>
            </a:r>
            <a:r>
              <a:rPr lang="nl-NL"/>
              <a:t>, </a:t>
            </a:r>
            <a:r>
              <a:rPr lang="nl-NL" err="1"/>
              <a:t>choos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other</a:t>
            </a:r>
            <a:r>
              <a:rPr lang="nl-NL"/>
              <a:t> cover </a:t>
            </a:r>
            <a:r>
              <a:rPr lang="nl-NL" err="1"/>
              <a:t>layout</a:t>
            </a:r>
            <a:r>
              <a:rPr lang="nl-NL"/>
              <a:t>)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FCB0984-B48F-41EB-BF9A-E2EB899248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2774" y="459582"/>
            <a:ext cx="682516" cy="784225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D18C03A2-AA0D-CB43-9EF7-8D4AE80B9D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2" name="Rechthoek 10">
            <a:extLst>
              <a:ext uri="{FF2B5EF4-FFF2-40B4-BE49-F238E27FC236}">
                <a16:creationId xmlns:a16="http://schemas.microsoft.com/office/drawing/2014/main" id="{13700AA2-E2BE-88B2-DAC1-76B4EEBB3DE5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4" name="Afbeelding 9">
            <a:extLst>
              <a:ext uri="{FF2B5EF4-FFF2-40B4-BE49-F238E27FC236}">
                <a16:creationId xmlns:a16="http://schemas.microsoft.com/office/drawing/2014/main" id="{B8CC2F80-4280-9206-B112-6BFE047C86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2774" y="459582"/>
            <a:ext cx="682516" cy="784225"/>
          </a:xfrm>
          <a:prstGeom prst="rect">
            <a:avLst/>
          </a:prstGeom>
        </p:spPr>
      </p:pic>
      <p:pic>
        <p:nvPicPr>
          <p:cNvPr id="5" name="Afbeelding 12">
            <a:extLst>
              <a:ext uri="{FF2B5EF4-FFF2-40B4-BE49-F238E27FC236}">
                <a16:creationId xmlns:a16="http://schemas.microsoft.com/office/drawing/2014/main" id="{A2CE053B-A946-E44A-B933-3BE247D482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6" name="Rechthoek 10">
            <a:extLst>
              <a:ext uri="{FF2B5EF4-FFF2-40B4-BE49-F238E27FC236}">
                <a16:creationId xmlns:a16="http://schemas.microsoft.com/office/drawing/2014/main" id="{2D8BB084-FD43-55AE-2C00-027A9C9ECEF1}"/>
              </a:ext>
            </a:extLst>
          </p:cNvPr>
          <p:cNvSpPr/>
          <p:nvPr/>
        </p:nvSpPr>
        <p:spPr>
          <a:xfrm>
            <a:off x="3968" y="1"/>
            <a:ext cx="12192000" cy="2136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4" name="Afbeelding 9">
            <a:extLst>
              <a:ext uri="{FF2B5EF4-FFF2-40B4-BE49-F238E27FC236}">
                <a16:creationId xmlns:a16="http://schemas.microsoft.com/office/drawing/2014/main" id="{9AD85334-4EC5-1C08-CC37-F4CE7306C3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88" t="409" r="95017" b="6030"/>
          <a:stretch/>
        </p:blipFill>
        <p:spPr>
          <a:xfrm>
            <a:off x="3292774" y="459582"/>
            <a:ext cx="682516" cy="784225"/>
          </a:xfrm>
          <a:prstGeom prst="rect">
            <a:avLst/>
          </a:prstGeom>
        </p:spPr>
      </p:pic>
      <p:pic>
        <p:nvPicPr>
          <p:cNvPr id="15" name="Afbeelding 12">
            <a:extLst>
              <a:ext uri="{FF2B5EF4-FFF2-40B4-BE49-F238E27FC236}">
                <a16:creationId xmlns:a16="http://schemas.microsoft.com/office/drawing/2014/main" id="{1AE91431-9BF1-4F73-2BFE-44F5DA0E93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95" y="501839"/>
            <a:ext cx="2343697" cy="565200"/>
          </a:xfrm>
          <a:prstGeom prst="rect">
            <a:avLst/>
          </a:prstGeom>
        </p:spPr>
      </p:pic>
      <p:sp>
        <p:nvSpPr>
          <p:cNvPr id="16" name="Tijdelijke aanduiding voor tekst 4">
            <a:extLst>
              <a:ext uri="{FF2B5EF4-FFF2-40B4-BE49-F238E27FC236}">
                <a16:creationId xmlns:a16="http://schemas.microsoft.com/office/drawing/2014/main" id="{A9DEE8B9-6932-5A10-8846-650ACA53BD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1411" y="433633"/>
            <a:ext cx="3111085" cy="784225"/>
          </a:xfrm>
          <a:prstGeom prst="rect">
            <a:avLst/>
          </a:prstGeom>
          <a:noFill/>
        </p:spPr>
        <p:txBody>
          <a:bodyPr lIns="241200" anchor="ctr" anchorCtr="0">
            <a:noAutofit/>
          </a:bodyPr>
          <a:lstStyle>
            <a:lvl1pPr>
              <a:lnSpc>
                <a:spcPct val="100000"/>
              </a:lnSpc>
              <a:defRPr sz="1100" b="0" cap="all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</a:lstStyle>
          <a:p>
            <a:r>
              <a:rPr lang="nl-NL" dirty="0"/>
              <a:t>Type </a:t>
            </a:r>
            <a:r>
              <a:rPr lang="nl-NL" dirty="0" err="1"/>
              <a:t>faculty</a:t>
            </a:r>
            <a:r>
              <a:rPr lang="nl-NL" dirty="0"/>
              <a:t> or Research </a:t>
            </a:r>
            <a:r>
              <a:rPr lang="nl-NL" dirty="0" err="1"/>
              <a:t>institute</a:t>
            </a:r>
            <a:r>
              <a:rPr lang="nl-NL" dirty="0"/>
              <a:t> name  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VU logo is </a:t>
            </a:r>
            <a:r>
              <a:rPr lang="nl-NL" dirty="0" err="1"/>
              <a:t>needed</a:t>
            </a:r>
            <a:r>
              <a:rPr lang="nl-NL" dirty="0"/>
              <a:t>, </a:t>
            </a:r>
            <a:r>
              <a:rPr lang="nl-NL" dirty="0" err="1"/>
              <a:t>choo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over </a:t>
            </a:r>
            <a:r>
              <a:rPr lang="nl-NL" dirty="0" err="1"/>
              <a:t>layout</a:t>
            </a:r>
            <a:r>
              <a:rPr lang="nl-NL" dirty="0"/>
              <a:t>)</a:t>
            </a:r>
          </a:p>
        </p:txBody>
      </p:sp>
      <p:sp>
        <p:nvSpPr>
          <p:cNvPr id="7" name="Tijdelijke aanduiding voor tekst 8">
            <a:extLst>
              <a:ext uri="{FF2B5EF4-FFF2-40B4-BE49-F238E27FC236}">
                <a16:creationId xmlns:a16="http://schemas.microsoft.com/office/drawing/2014/main" id="{17FBE25F-C38A-BF64-1EC5-C29E45FE223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792" y="1576388"/>
            <a:ext cx="11298352" cy="2316176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tile tx="0" ty="0" sx="100000" sy="100000" flip="none" algn="bl"/>
          </a:blipFill>
        </p:spPr>
        <p:txBody>
          <a:bodyPr wrap="square" lIns="442800" tIns="442800" rIns="442800" bIns="442800">
            <a:spAutoFit/>
          </a:bodyPr>
          <a:lstStyle>
            <a:lvl1pPr>
              <a:lnSpc>
                <a:spcPct val="90000"/>
              </a:lnSpc>
              <a:spcAft>
                <a:spcPts val="1200"/>
              </a:spcAft>
              <a:defRPr sz="3200" b="1" i="0">
                <a:solidFill>
                  <a:schemeClr val="bg2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nl-NL"/>
              <a:t>Head</a:t>
            </a:r>
          </a:p>
          <a:p>
            <a:pPr lvl="1"/>
            <a:r>
              <a:rPr lang="nl-NL"/>
              <a:t>Body</a:t>
            </a:r>
          </a:p>
          <a:p>
            <a:pPr lvl="2"/>
            <a:r>
              <a:rPr lang="nl-NL" err="1"/>
              <a:t>Bullet</a:t>
            </a:r>
            <a:r>
              <a:rPr lang="nl-NL"/>
              <a:t> level 1</a:t>
            </a:r>
          </a:p>
        </p:txBody>
      </p:sp>
    </p:spTree>
    <p:extLst>
      <p:ext uri="{BB962C8B-B14F-4D97-AF65-F5344CB8AC3E}">
        <p14:creationId xmlns:p14="http://schemas.microsoft.com/office/powerpoint/2010/main" val="54361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EC438-4C17-4F62-63B8-6B96E3F95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7554CF-6078-BF09-195B-7EB132F50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0A7E99-8702-711B-3A90-658DC4A8F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141F6-F89C-1C7D-D7AF-FA9BD52B1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433982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9FCEE2-4F85-A39B-BFAF-99B3E6EA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08799-4C0D-9D66-B253-F2C56B9C3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881624-EFEE-78F6-0CCC-C39C7A481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566735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EC438-4C17-4F62-63B8-6B96E3F95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7554CF-6078-BF09-195B-7EB132F50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0A7E99-8702-711B-3A90-658DC4A8F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141F6-F89C-1C7D-D7AF-FA9BD52B1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54604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/>
              <a:t>Head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034" y="1576388"/>
            <a:ext cx="7480022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/>
              <a:t>Head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752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c spac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F8012FC1-0E7E-9841-882C-A325E0E2022A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9" name="TypeTextLevel" hidden="1">
            <a:extLst>
              <a:ext uri="{FF2B5EF4-FFF2-40B4-BE49-F238E27FC236}">
                <a16:creationId xmlns:a16="http://schemas.microsoft.com/office/drawing/2014/main" id="{35AB9CDD-1E28-436D-9C2F-A4BE95A9C2D1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ekstvak 2">
            <a:extLst>
              <a:ext uri="{FF2B5EF4-FFF2-40B4-BE49-F238E27FC236}">
                <a16:creationId xmlns:a16="http://schemas.microsoft.com/office/drawing/2014/main" id="{231A1B72-DE14-C62B-5AAB-B208425BC641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8" name="TypeTextLevel" hidden="1">
            <a:extLst>
              <a:ext uri="{FF2B5EF4-FFF2-40B4-BE49-F238E27FC236}">
                <a16:creationId xmlns:a16="http://schemas.microsoft.com/office/drawing/2014/main" id="{A3E95DD1-E6A8-14DA-A7EC-277A5A987DA6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1" name="Tekstvak 2">
            <a:extLst>
              <a:ext uri="{FF2B5EF4-FFF2-40B4-BE49-F238E27FC236}">
                <a16:creationId xmlns:a16="http://schemas.microsoft.com/office/drawing/2014/main" id="{75BE7527-8685-5E41-14C7-E63494C57929}"/>
              </a:ext>
            </a:extLst>
          </p:cNvPr>
          <p:cNvSpPr txBox="1"/>
          <p:nvPr/>
        </p:nvSpPr>
        <p:spPr>
          <a:xfrm>
            <a:off x="3323881" y="6486258"/>
            <a:ext cx="0" cy="0"/>
          </a:xfrm>
          <a:prstGeom prst="rect">
            <a:avLst/>
          </a:prstGeom>
          <a:solidFill>
            <a:schemeClr val="bg1"/>
          </a:solidFill>
          <a:effectLst>
            <a:outerShdw blurRad="254000" dist="127000" dir="2700000" algn="ctr" rotWithShape="0">
              <a:schemeClr val="tx1">
                <a:alpha val="5000"/>
              </a:schemeClr>
            </a:outerShdw>
          </a:effectLst>
        </p:spPr>
        <p:txBody>
          <a:bodyPr wrap="none" lIns="359953" tIns="359953" rIns="359953" bIns="359953" rtlCol="0">
            <a:noAutofit/>
          </a:bodyPr>
          <a:lstStyle/>
          <a:p>
            <a:pPr algn="l"/>
            <a:endParaRPr lang="nl-NL" sz="2400">
              <a:solidFill>
                <a:srgbClr val="005CA9"/>
              </a:solidFill>
            </a:endParaRPr>
          </a:p>
        </p:txBody>
      </p:sp>
      <p:sp>
        <p:nvSpPr>
          <p:cNvPr id="12" name="TypeTextLevel" hidden="1">
            <a:extLst>
              <a:ext uri="{FF2B5EF4-FFF2-40B4-BE49-F238E27FC236}">
                <a16:creationId xmlns:a16="http://schemas.microsoft.com/office/drawing/2014/main" id="{3145816A-9194-3356-A86C-D25C2DAF2934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263C7571-25BE-973C-DFC7-02B03930C6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D31B9B-2D56-F1E2-0C00-3D9571B263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8ADA60-27A2-50CF-7DEB-D2834BF655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9C40599-0636-A660-D459-700566FE4E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1927949-40B9-E8F6-B2A7-A1D3941345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44" y="1576388"/>
            <a:ext cx="7479326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E77755D-D3C4-B1C7-3558-0D0EA1AAB8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0"/>
            <a:r>
              <a:rPr lang="nl-NL" dirty="0"/>
              <a:t>Head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14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035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C2948E4-551F-62B1-D595-BE479FDEE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6942" y="1576388"/>
            <a:ext cx="3631728" cy="441801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922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68090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3/3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035" y="1576388"/>
            <a:ext cx="3631728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C2948E4-551F-62B1-D595-BE479FDEE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6942" y="1576388"/>
            <a:ext cx="3631728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3801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2DF140-6C53-44AA-83B1-6399EDE16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44" y="1576388"/>
            <a:ext cx="3631728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7" name="TypeTextLevel" hidden="1">
            <a:extLst>
              <a:ext uri="{FF2B5EF4-FFF2-40B4-BE49-F238E27FC236}">
                <a16:creationId xmlns:a16="http://schemas.microsoft.com/office/drawing/2014/main" id="{AAD0BC9D-8444-4495-A390-04858A2A3185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2" name="TypeTextLevel" hidden="1">
            <a:extLst>
              <a:ext uri="{FF2B5EF4-FFF2-40B4-BE49-F238E27FC236}">
                <a16:creationId xmlns:a16="http://schemas.microsoft.com/office/drawing/2014/main" id="{D1F7F068-1608-1F4A-BC4C-391FF35851D7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3" name="TypeTextLevel" hidden="1">
            <a:extLst>
              <a:ext uri="{FF2B5EF4-FFF2-40B4-BE49-F238E27FC236}">
                <a16:creationId xmlns:a16="http://schemas.microsoft.com/office/drawing/2014/main" id="{B81D75B9-CF4A-86F0-4E04-3BEC89185FCE}"/>
              </a:ext>
            </a:extLst>
          </p:cNvPr>
          <p:cNvSpPr txBox="1"/>
          <p:nvPr/>
        </p:nvSpPr>
        <p:spPr>
          <a:xfrm>
            <a:off x="-1680645" y="188640"/>
            <a:ext cx="16806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err="1"/>
              <a:t>TextSlide</a:t>
            </a:r>
            <a:endParaRPr lang="nl-NL" sz="80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F7E6BE1-1405-0CB4-1657-F8CB8D167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3346DECC-2467-6850-18F6-7DBCE0DE3A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6C49121-804B-D1CF-97AF-4E0B92DACE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ECA456A-618E-FAF0-453B-73A4C46C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976269B5-F613-E77F-B4F6-1B858D387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0034" y="1576388"/>
            <a:ext cx="7480022" cy="44180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1400"/>
            </a:lvl1pPr>
            <a:lvl2pPr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model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740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9FEE1C-E918-55FF-4E0D-803BBB295A14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086913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59" imgH="355" progId="TCLayout.ActiveDocument.1">
                  <p:embed/>
                </p:oleObj>
              </mc:Choice>
              <mc:Fallback>
                <p:oleObj name="think-cell Slide" r:id="rId37" imgW="359" imgH="35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9FEE1C-E918-55FF-4E0D-803BBB295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27665E69-18C9-CF48-BFCD-B5F193A54EE1}"/>
              </a:ext>
            </a:extLst>
          </p:cNvPr>
          <p:cNvSpPr/>
          <p:nvPr/>
        </p:nvSpPr>
        <p:spPr>
          <a:xfrm flipH="1">
            <a:off x="-1" y="2"/>
            <a:ext cx="12191612" cy="11448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1943" y="5994401"/>
            <a:ext cx="492169" cy="8635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1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6D19E91-5CEB-4345-86C9-89638D644E63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6ED97E-E821-4DC0-8C69-9551871955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44" y="1576389"/>
            <a:ext cx="11328513" cy="4418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Head</a:t>
            </a:r>
          </a:p>
          <a:p>
            <a:pPr lvl="1"/>
            <a:r>
              <a:rPr lang="nl-NL" dirty="0"/>
              <a:t>Body</a:t>
            </a:r>
          </a:p>
          <a:p>
            <a:pPr lvl="2"/>
            <a:r>
              <a:rPr lang="nl-NL" dirty="0" err="1"/>
              <a:t>Bullet</a:t>
            </a:r>
            <a:r>
              <a:rPr lang="nl-NL" dirty="0"/>
              <a:t> level 1</a:t>
            </a:r>
          </a:p>
          <a:p>
            <a:pPr lvl="3"/>
            <a:r>
              <a:rPr lang="nl-NL" dirty="0" err="1"/>
              <a:t>Bullet</a:t>
            </a:r>
            <a:r>
              <a:rPr lang="nl-NL" dirty="0"/>
              <a:t> level 2</a:t>
            </a:r>
          </a:p>
          <a:p>
            <a:pPr lvl="4"/>
            <a:r>
              <a:rPr lang="nl-NL" dirty="0"/>
              <a:t>Small </a:t>
            </a:r>
            <a:r>
              <a:rPr lang="nl-NL" dirty="0" err="1"/>
              <a:t>text</a:t>
            </a:r>
            <a:endParaRPr lang="en-GB" dirty="0"/>
          </a:p>
        </p:txBody>
      </p:sp>
      <p:sp>
        <p:nvSpPr>
          <p:cNvPr id="5" name="Ruit 4">
            <a:extLst>
              <a:ext uri="{FF2B5EF4-FFF2-40B4-BE49-F238E27FC236}">
                <a16:creationId xmlns:a16="http://schemas.microsoft.com/office/drawing/2014/main" id="{69BFFA70-8EB0-7E3D-8E1F-602486376092}"/>
              </a:ext>
            </a:extLst>
          </p:cNvPr>
          <p:cNvSpPr/>
          <p:nvPr/>
        </p:nvSpPr>
        <p:spPr>
          <a:xfrm>
            <a:off x="431943" y="939300"/>
            <a:ext cx="410945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10" name="Tijdelijke aanduiding voor datum 9">
            <a:extLst>
              <a:ext uri="{FF2B5EF4-FFF2-40B4-BE49-F238E27FC236}">
                <a16:creationId xmlns:a16="http://schemas.microsoft.com/office/drawing/2014/main" id="{0C4C011C-3E2B-6C67-72AD-D1636F14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79342" y="5994400"/>
            <a:ext cx="1707928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1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72441C0-D755-4C2B-8853-B1A29AE6C13B}" type="datetimeFigureOut">
              <a:rPr lang="en-NL" smtClean="0"/>
              <a:t>16/01/2026</a:t>
            </a:fld>
            <a:endParaRPr lang="en-NL"/>
          </a:p>
        </p:txBody>
      </p:sp>
      <p:pic>
        <p:nvPicPr>
          <p:cNvPr id="11" name="Afbeelding 5">
            <a:extLst>
              <a:ext uri="{FF2B5EF4-FFF2-40B4-BE49-F238E27FC236}">
                <a16:creationId xmlns:a16="http://schemas.microsoft.com/office/drawing/2014/main" id="{2AFAC8CD-A22B-2A6C-A407-1E5B26CEE9B6}"/>
              </a:ext>
            </a:extLst>
          </p:cNvPr>
          <p:cNvPicPr>
            <a:picLocks noChangeAspect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1936" y="6118049"/>
            <a:ext cx="1105113" cy="609600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D6E26044-C798-E27B-8AE3-8127B1E02653}"/>
              </a:ext>
            </a:extLst>
          </p:cNvPr>
          <p:cNvSpPr>
            <a:spLocks/>
          </p:cNvSpPr>
          <p:nvPr/>
        </p:nvSpPr>
        <p:spPr>
          <a:xfrm flipH="1">
            <a:off x="-1" y="2"/>
            <a:ext cx="12191612" cy="1144800"/>
          </a:xfrm>
          <a:prstGeom prst="rect">
            <a:avLst/>
          </a:prstGeom>
          <a:solidFill>
            <a:srgbClr val="F2EF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uit 4">
            <a:extLst>
              <a:ext uri="{FF2B5EF4-FFF2-40B4-BE49-F238E27FC236}">
                <a16:creationId xmlns:a16="http://schemas.microsoft.com/office/drawing/2014/main" id="{E8802368-AA84-2C7B-B037-21D2F5AFBA20}"/>
              </a:ext>
            </a:extLst>
          </p:cNvPr>
          <p:cNvSpPr/>
          <p:nvPr/>
        </p:nvSpPr>
        <p:spPr>
          <a:xfrm>
            <a:off x="431943" y="939300"/>
            <a:ext cx="410945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2" name="Afbeelding 5">
            <a:extLst>
              <a:ext uri="{FF2B5EF4-FFF2-40B4-BE49-F238E27FC236}">
                <a16:creationId xmlns:a16="http://schemas.microsoft.com/office/drawing/2014/main" id="{BEA310B8-29E9-EA3F-7678-19C0B0DFD76C}"/>
              </a:ext>
            </a:extLst>
          </p:cNvPr>
          <p:cNvPicPr>
            <a:picLocks noChangeAspect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1936" y="6118049"/>
            <a:ext cx="1105113" cy="609600"/>
          </a:xfrm>
          <a:prstGeom prst="rect">
            <a:avLst/>
          </a:prstGeom>
        </p:spPr>
      </p:pic>
      <p:sp>
        <p:nvSpPr>
          <p:cNvPr id="14" name="Ruit 4">
            <a:extLst>
              <a:ext uri="{FF2B5EF4-FFF2-40B4-BE49-F238E27FC236}">
                <a16:creationId xmlns:a16="http://schemas.microsoft.com/office/drawing/2014/main" id="{36333E8B-B86D-4C66-F2C8-60AC41745922}"/>
              </a:ext>
            </a:extLst>
          </p:cNvPr>
          <p:cNvSpPr/>
          <p:nvPr/>
        </p:nvSpPr>
        <p:spPr>
          <a:xfrm>
            <a:off x="431943" y="939300"/>
            <a:ext cx="410945" cy="410999"/>
          </a:xfrm>
          <a:prstGeom prst="diamond">
            <a:avLst/>
          </a:prstGeom>
          <a:solidFill>
            <a:srgbClr val="F2E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pic>
        <p:nvPicPr>
          <p:cNvPr id="15" name="Afbeelding 5">
            <a:extLst>
              <a:ext uri="{FF2B5EF4-FFF2-40B4-BE49-F238E27FC236}">
                <a16:creationId xmlns:a16="http://schemas.microsoft.com/office/drawing/2014/main" id="{102F2A4A-0072-1987-C765-5D8D56874048}"/>
              </a:ext>
            </a:extLst>
          </p:cNvPr>
          <p:cNvPicPr>
            <a:picLocks noChangeAspect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497"/>
          <a:stretch/>
        </p:blipFill>
        <p:spPr>
          <a:xfrm>
            <a:off x="10681936" y="6118049"/>
            <a:ext cx="1105113" cy="609600"/>
          </a:xfrm>
          <a:prstGeom prst="rect">
            <a:avLst/>
          </a:prstGeom>
        </p:spPr>
      </p:pic>
      <p:sp>
        <p:nvSpPr>
          <p:cNvPr id="16" name="Tijdelijke aanduiding voor titel 15">
            <a:extLst>
              <a:ext uri="{FF2B5EF4-FFF2-40B4-BE49-F238E27FC236}">
                <a16:creationId xmlns:a16="http://schemas.microsoft.com/office/drawing/2014/main" id="{B3719A78-ECB9-A945-D814-B19F3D7F8C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31744" y="1"/>
            <a:ext cx="11328313" cy="1144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17" name="Tijdelijke aanduiding voor voettekst 16">
            <a:extLst>
              <a:ext uri="{FF2B5EF4-FFF2-40B4-BE49-F238E27FC236}">
                <a16:creationId xmlns:a16="http://schemas.microsoft.com/office/drawing/2014/main" id="{3725892D-53A1-5BB9-D87C-B13C34037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852" y="5994400"/>
            <a:ext cx="2920620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nl-NL" sz="11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27497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txStyles>
    <p:titleStyle>
      <a:lvl1pPr algn="l" defTabSz="685731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31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None/>
        <a:defRPr sz="2000" b="0" i="0" kern="1200">
          <a:solidFill>
            <a:srgbClr val="0077B3"/>
          </a:solidFill>
          <a:latin typeface="+mn-lt"/>
          <a:ea typeface="+mn-ea"/>
          <a:cs typeface="+mn-cs"/>
        </a:defRPr>
      </a:lvl1pPr>
      <a:lvl2pPr marL="0" indent="0" algn="l" defTabSz="685731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None/>
        <a:tabLst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269973" indent="-179982" algn="l" defTabSz="685731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ptos" panose="020B0004020202020204" pitchFamily="34" charset="0"/>
        <a:buChar char="•"/>
        <a:tabLst/>
        <a:defRPr sz="2000" b="0" i="0" kern="1200" baseline="0">
          <a:solidFill>
            <a:schemeClr val="tx1"/>
          </a:solidFill>
          <a:latin typeface="+mn-lt"/>
          <a:ea typeface="+mn-ea"/>
          <a:cs typeface="Aptos" panose="020B0004020202020204" pitchFamily="34" charset="0"/>
        </a:defRPr>
      </a:lvl3pPr>
      <a:lvl4pPr marL="539946" indent="-179982" algn="l" defTabSz="685731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rgbClr val="0077B3"/>
        </a:buClr>
        <a:buFont typeface="Aptos" panose="020B0004020202020204" pitchFamily="34" charset="0"/>
        <a:buChar char="o"/>
        <a:tabLst/>
        <a:defRPr lang="en-US" sz="2000" b="0" i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31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Tx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61" indent="-171433" algn="l" defTabSz="685731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7" indent="-171433" algn="l" defTabSz="685731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3" indent="-171433" algn="l" defTabSz="685731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59" indent="-171433" algn="l" defTabSz="685731" rtl="0" eaLnBrk="1" latinLnBrk="0" hangingPunct="1">
        <a:lnSpc>
          <a:spcPct val="90000"/>
        </a:lnSpc>
        <a:spcBef>
          <a:spcPts val="375"/>
        </a:spcBef>
        <a:buFont typeface="Aptos" panose="020B00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1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9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4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1">
          <p15:clr>
            <a:srgbClr val="F26B43"/>
          </p15:clr>
        </p15:guide>
        <p15:guide id="42" pos="7681">
          <p15:clr>
            <a:srgbClr val="F26B43"/>
          </p15:clr>
        </p15:guide>
        <p15:guide id="43" pos="272">
          <p15:clr>
            <a:srgbClr val="F26B43"/>
          </p15:clr>
        </p15:guide>
        <p15:guide id="44" pos="1348">
          <p15:clr>
            <a:srgbClr val="F26B43"/>
          </p15:clr>
        </p15:guide>
        <p15:guide id="45" pos="1484">
          <p15:clr>
            <a:srgbClr val="F26B43"/>
          </p15:clr>
        </p15:guide>
        <p15:guide id="46" pos="2560">
          <p15:clr>
            <a:srgbClr val="F26B43"/>
          </p15:clr>
        </p15:guide>
        <p15:guide id="47" pos="2696">
          <p15:clr>
            <a:srgbClr val="F26B43"/>
          </p15:clr>
        </p15:guide>
        <p15:guide id="48" pos="3772">
          <p15:clr>
            <a:srgbClr val="F26B43"/>
          </p15:clr>
        </p15:guide>
        <p15:guide id="49" pos="3908">
          <p15:clr>
            <a:srgbClr val="F26B43"/>
          </p15:clr>
        </p15:guide>
        <p15:guide id="50" pos="4984">
          <p15:clr>
            <a:srgbClr val="F26B43"/>
          </p15:clr>
        </p15:guide>
        <p15:guide id="51" pos="5120">
          <p15:clr>
            <a:srgbClr val="F26B43"/>
          </p15:clr>
        </p15:guide>
        <p15:guide id="52" pos="6196">
          <p15:clr>
            <a:srgbClr val="F26B43"/>
          </p15:clr>
        </p15:guide>
        <p15:guide id="53" pos="6332">
          <p15:clr>
            <a:srgbClr val="F26B43"/>
          </p15:clr>
        </p15:guide>
        <p15:guide id="54" pos="7409">
          <p15:clr>
            <a:srgbClr val="F26B43"/>
          </p15:clr>
        </p15:guide>
        <p15:guide id="55" orient="horz">
          <p15:clr>
            <a:srgbClr val="F26B43"/>
          </p15:clr>
        </p15:guide>
        <p15:guide id="56" orient="horz" pos="4320">
          <p15:clr>
            <a:srgbClr val="F26B43"/>
          </p15:clr>
        </p15:guide>
        <p15:guide id="57" orient="horz" pos="993">
          <p15:clr>
            <a:srgbClr val="F26B43"/>
          </p15:clr>
        </p15:guide>
        <p15:guide id="58" orient="horz" pos="3776">
          <p15:clr>
            <a:srgbClr val="F26B43"/>
          </p15:clr>
        </p15:guide>
        <p15:guide id="59" orient="horz" pos="721">
          <p15:clr>
            <a:srgbClr val="F26B43"/>
          </p15:clr>
        </p15:guide>
        <p15:guide id="60" pos="7680">
          <p15:clr>
            <a:srgbClr val="F26B43"/>
          </p15:clr>
        </p15:guide>
        <p15:guide id="61" orient="horz" pos="2319">
          <p15:clr>
            <a:srgbClr val="F26B43"/>
          </p15:clr>
        </p15:guide>
        <p15:guide id="62" orient="horz" pos="243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A6561D-3461-0E92-981F-8F4B1181929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1959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6561D-3461-0E92-981F-8F4B11819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19B37A3-82F2-45D5-868F-F00F93F6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76" y="623176"/>
            <a:ext cx="10972800" cy="4658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noProof="0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61B9A90-182E-49A3-8BF5-04F32288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6" y="1457805"/>
            <a:ext cx="10993775" cy="4335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 err="1"/>
              <a:t>Text</a:t>
            </a:r>
            <a:endParaRPr lang="nl-NL" noProof="0" dirty="0"/>
          </a:p>
          <a:p>
            <a:pPr lvl="4"/>
            <a:r>
              <a:rPr lang="nl-NL" noProof="0" dirty="0" err="1"/>
              <a:t>Subtitle</a:t>
            </a:r>
            <a:r>
              <a:rPr lang="nl-NL" noProof="0" dirty="0"/>
              <a:t> #1</a:t>
            </a:r>
          </a:p>
          <a:p>
            <a:pPr lvl="5"/>
            <a:r>
              <a:rPr lang="nl-NL" noProof="0" dirty="0" err="1"/>
              <a:t>Subtitle</a:t>
            </a:r>
            <a:r>
              <a:rPr lang="nl-NL" noProof="0" dirty="0"/>
              <a:t> #2</a:t>
            </a:r>
          </a:p>
          <a:p>
            <a:pPr lvl="6"/>
            <a:r>
              <a:rPr lang="nl-NL" noProof="0" dirty="0" err="1"/>
              <a:t>Numeric</a:t>
            </a:r>
            <a:r>
              <a:rPr lang="nl-NL" noProof="0" dirty="0"/>
              <a:t>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8"/>
            <a:r>
              <a:rPr lang="nl-NL" noProof="0" dirty="0"/>
              <a:t>Source</a:t>
            </a:r>
          </a:p>
        </p:txBody>
      </p:sp>
      <p:grpSp>
        <p:nvGrpSpPr>
          <p:cNvPr id="15" name="GRID" hidden="1">
            <a:extLst>
              <a:ext uri="{FF2B5EF4-FFF2-40B4-BE49-F238E27FC236}">
                <a16:creationId xmlns:a16="http://schemas.microsoft.com/office/drawing/2014/main" id="{4129D105-9E64-446B-9706-45C80CEFF79A}"/>
              </a:ext>
            </a:extLst>
          </p:cNvPr>
          <p:cNvGrpSpPr/>
          <p:nvPr/>
        </p:nvGrpSpPr>
        <p:grpSpPr>
          <a:xfrm>
            <a:off x="-12032" y="0"/>
            <a:ext cx="12204032" cy="6858000"/>
            <a:chOff x="-12032" y="0"/>
            <a:chExt cx="12204032" cy="6858000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D9988B5-FF41-44BF-9EBA-8ED0383D0B4A}"/>
                </a:ext>
              </a:extLst>
            </p:cNvPr>
            <p:cNvSpPr/>
            <p:nvPr/>
          </p:nvSpPr>
          <p:spPr>
            <a:xfrm>
              <a:off x="-12032" y="0"/>
              <a:ext cx="12192000" cy="72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223B51F0-7066-4BAC-B391-CBE4243866E1}"/>
                </a:ext>
              </a:extLst>
            </p:cNvPr>
            <p:cNvSpPr/>
            <p:nvPr/>
          </p:nvSpPr>
          <p:spPr>
            <a:xfrm>
              <a:off x="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986314BC-5B6A-423E-A18F-BE67EEBFD0AA}"/>
                </a:ext>
              </a:extLst>
            </p:cNvPr>
            <p:cNvSpPr/>
            <p:nvPr/>
          </p:nvSpPr>
          <p:spPr>
            <a:xfrm>
              <a:off x="11472000" y="0"/>
              <a:ext cx="720000" cy="685799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59F3FC6-346A-4720-8A58-EF51F3E955F9}"/>
                </a:ext>
              </a:extLst>
            </p:cNvPr>
            <p:cNvSpPr/>
            <p:nvPr/>
          </p:nvSpPr>
          <p:spPr>
            <a:xfrm>
              <a:off x="0" y="1064525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3D4E2D73-574C-4613-A3A4-5612A2E130A4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52775937-D9EA-4974-9459-412AF5D1CBD4}"/>
                </a:ext>
              </a:extLst>
            </p:cNvPr>
            <p:cNvSpPr/>
            <p:nvPr/>
          </p:nvSpPr>
          <p:spPr>
            <a:xfrm>
              <a:off x="0" y="5806208"/>
              <a:ext cx="12192000" cy="54000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 noProof="0"/>
            </a:p>
          </p:txBody>
        </p: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88A106C3-3B5C-4817-A9B9-E1AA65368768}"/>
              </a:ext>
            </a:extLst>
          </p:cNvPr>
          <p:cNvSpPr txBox="1"/>
          <p:nvPr/>
        </p:nvSpPr>
        <p:spPr>
          <a:xfrm>
            <a:off x="0" y="-621351"/>
            <a:ext cx="3994152" cy="1800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nl-NL" sz="1000" b="0" cap="all" baseline="0" noProof="0">
                <a:solidFill>
                  <a:schemeClr val="accent2"/>
                </a:solidFill>
                <a:latin typeface="+mn-lt"/>
              </a:rPr>
              <a:t>INDELING</a:t>
            </a:r>
          </a:p>
        </p:txBody>
      </p:sp>
    </p:spTree>
    <p:extLst>
      <p:ext uri="{BB962C8B-B14F-4D97-AF65-F5344CB8AC3E}">
        <p14:creationId xmlns:p14="http://schemas.microsoft.com/office/powerpoint/2010/main" val="2399868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1D1D19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66673" indent="-266673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SzPct val="110000"/>
        <a:buFontTx/>
        <a:buBlip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1pPr>
      <a:lvl2pPr marL="536521" indent="-269848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2"/>
        </a:buClr>
        <a:buSzPct val="110000"/>
        <a:buFontTx/>
        <a:buBlip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</a:buBlip>
        <a:tabLst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2pPr>
      <a:lvl3pPr marL="807957" indent="-271436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Segoe UI Light" panose="020B0502040204020203" pitchFamily="34" charset="0"/>
        <a:buChar char="–"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3pPr>
      <a:lvl4pPr marL="0" indent="0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4pPr>
      <a:lvl5pPr marL="0" indent="0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800" b="1" kern="1200">
          <a:solidFill>
            <a:srgbClr val="0089CF"/>
          </a:solidFill>
          <a:latin typeface="Aptos" panose="020B0004020202020204" pitchFamily="34" charset="0"/>
          <a:ea typeface="+mn-ea"/>
          <a:cs typeface="+mn-cs"/>
        </a:defRPr>
      </a:lvl5pPr>
      <a:lvl6pPr marL="0" indent="0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2800" b="0" kern="1200" cap="none" baseline="0">
          <a:solidFill>
            <a:srgbClr val="005690"/>
          </a:solidFill>
          <a:latin typeface="Aptos" panose="020B0004020202020204" pitchFamily="34" charset="0"/>
          <a:ea typeface="+mn-ea"/>
          <a:cs typeface="+mn-cs"/>
        </a:defRPr>
      </a:lvl6pPr>
      <a:lvl7pPr marL="268261" indent="-268261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+mj-lt"/>
        <a:buAutoNum type="arabicPeriod"/>
        <a:tabLst/>
        <a:defRPr sz="2400" kern="1200">
          <a:solidFill>
            <a:srgbClr val="211F26"/>
          </a:solidFill>
          <a:latin typeface="Aptos" panose="020B0004020202020204" pitchFamily="34" charset="0"/>
          <a:ea typeface="+mn-ea"/>
          <a:cs typeface="+mn-cs"/>
        </a:defRPr>
      </a:lvl7pPr>
      <a:lvl8pPr marL="268261" indent="-268261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1"/>
        </a:buClr>
        <a:buFont typeface="+mj-lt"/>
        <a:buAutoNum type="alphaLcPeriod"/>
        <a:defRPr sz="2400" kern="1200">
          <a:solidFill>
            <a:srgbClr val="211F26"/>
          </a:solidFill>
          <a:latin typeface="+mn-lt"/>
          <a:ea typeface="+mn-ea"/>
          <a:cs typeface="+mn-cs"/>
        </a:defRPr>
      </a:lvl8pPr>
      <a:lvl9pPr marL="0" indent="0" algn="l" defTabSz="914309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2000" i="1" kern="1200">
          <a:solidFill>
            <a:srgbClr val="211F26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>
          <p15:clr>
            <a:srgbClr val="A4A3A4"/>
          </p15:clr>
        </p15:guide>
        <p15:guide id="3" orient="horz" pos="3861">
          <p15:clr>
            <a:srgbClr val="A4A3A4"/>
          </p15:clr>
        </p15:guide>
        <p15:guide id="6" pos="7378">
          <p15:clr>
            <a:srgbClr val="A4A3A4"/>
          </p15:clr>
        </p15:guide>
        <p15:guide id="9" orient="horz" pos="391">
          <p15:clr>
            <a:srgbClr val="A4A3A4"/>
          </p15:clr>
        </p15:guide>
        <p15:guide id="10" orient="horz" pos="618">
          <p15:clr>
            <a:srgbClr val="A4A3A4"/>
          </p15:clr>
        </p15:guide>
        <p15:guide id="12" orient="horz" pos="4020">
          <p15:clr>
            <a:srgbClr val="A4A3A4"/>
          </p15:clr>
        </p15:guide>
        <p15:guide id="13" pos="7680">
          <p15:clr>
            <a:srgbClr val="F26B43"/>
          </p15:clr>
        </p15:guide>
        <p15:guide id="14" orient="horz" pos="4320">
          <p15:clr>
            <a:srgbClr val="F26B43"/>
          </p15:clr>
        </p15:guide>
        <p15:guide id="15" orient="horz" pos="4178">
          <p15:clr>
            <a:srgbClr val="A4A3A4"/>
          </p15:clr>
        </p15:guide>
        <p15:guide id="16">
          <p15:clr>
            <a:srgbClr val="F26B43"/>
          </p15:clr>
        </p15:guide>
        <p15:guide id="17" orient="horz">
          <p15:clr>
            <a:srgbClr val="F26B43"/>
          </p15:clr>
        </p15:guide>
        <p15:guide id="18" orient="horz" pos="3430">
          <p15:clr>
            <a:srgbClr val="A4A3A4"/>
          </p15:clr>
        </p15:guide>
        <p15:guide id="19" pos="143">
          <p15:clr>
            <a:srgbClr val="A4A3A4"/>
          </p15:clr>
        </p15:guide>
        <p15:guide id="20" pos="753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microsoft.com/office/2007/relationships/hdphoto" Target="../media/hdphoto2.wdp"/><Relationship Id="rId18" Type="http://schemas.openxmlformats.org/officeDocument/2006/relationships/image" Target="../media/image22.jpg"/><Relationship Id="rId3" Type="http://schemas.openxmlformats.org/officeDocument/2006/relationships/image" Target="../media/image10.png"/><Relationship Id="rId21" Type="http://schemas.openxmlformats.org/officeDocument/2006/relationships/image" Target="../media/image25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microsoft.com/office/2007/relationships/hdphoto" Target="../media/hdphoto1.wdp"/><Relationship Id="rId15" Type="http://schemas.microsoft.com/office/2007/relationships/hdphoto" Target="../media/hdphoto3.wdp"/><Relationship Id="rId10" Type="http://schemas.openxmlformats.org/officeDocument/2006/relationships/image" Target="../media/image16.png"/><Relationship Id="rId19" Type="http://schemas.openxmlformats.org/officeDocument/2006/relationships/image" Target="../media/image23.jpg"/><Relationship Id="rId4" Type="http://schemas.openxmlformats.org/officeDocument/2006/relationships/image" Target="../media/image11.png"/><Relationship Id="rId9" Type="http://schemas.openxmlformats.org/officeDocument/2006/relationships/image" Target="../media/image15.jpeg"/><Relationship Id="rId1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44">
            <a:extLst>
              <a:ext uri="{FF2B5EF4-FFF2-40B4-BE49-F238E27FC236}">
                <a16:creationId xmlns:a16="http://schemas.microsoft.com/office/drawing/2014/main" id="{ACD65950-CBDD-C57A-62D9-9806A787A302}"/>
              </a:ext>
            </a:extLst>
          </p:cNvPr>
          <p:cNvSpPr/>
          <p:nvPr/>
        </p:nvSpPr>
        <p:spPr>
          <a:xfrm>
            <a:off x="5108144" y="-598697"/>
            <a:ext cx="9298849" cy="9298849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NL" sz="1600" dirty="0" err="1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8898B54-1668-3DC5-1426-EF40B7490A02}"/>
              </a:ext>
            </a:extLst>
          </p:cNvPr>
          <p:cNvSpPr/>
          <p:nvPr/>
        </p:nvSpPr>
        <p:spPr>
          <a:xfrm>
            <a:off x="-2399424" y="-513510"/>
            <a:ext cx="9298849" cy="9298849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en-NL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CC2EEA-7D1D-B7F2-EA5A-BBC4AD84D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222"/>
            <a:ext cx="12139024" cy="465851"/>
          </a:xfrm>
        </p:spPr>
        <p:txBody>
          <a:bodyPr/>
          <a:lstStyle/>
          <a:p>
            <a:pPr algn="ctr"/>
            <a:r>
              <a:rPr lang="nl-NL" dirty="0"/>
              <a:t>WETENSCHAP IN BEGRIJPELIJKE TAAL: DE KRACHT VAN AI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776899D-7F30-2E5F-3DD1-519DCA388370}"/>
              </a:ext>
            </a:extLst>
          </p:cNvPr>
          <p:cNvSpPr/>
          <p:nvPr/>
        </p:nvSpPr>
        <p:spPr>
          <a:xfrm>
            <a:off x="458720" y="576135"/>
            <a:ext cx="4111305" cy="382439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b="1" dirty="0"/>
              <a:t>HET PROBLEEM: EEN BARRIÈRE VOOR KENNI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59AAB29-E5ED-9AD4-C8E3-7202A80FAC64}"/>
              </a:ext>
            </a:extLst>
          </p:cNvPr>
          <p:cNvSpPr/>
          <p:nvPr/>
        </p:nvSpPr>
        <p:spPr>
          <a:xfrm>
            <a:off x="6874077" y="576135"/>
            <a:ext cx="4425610" cy="382439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b="1" dirty="0"/>
              <a:t>DE OPLOSSING: AI ALS INTELLIGENTE TOL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D9FEE0-F498-1A52-AE50-DA1F279FED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7" t="16694" r="76764" b="54161"/>
          <a:stretch>
            <a:fillRect/>
          </a:stretch>
        </p:blipFill>
        <p:spPr>
          <a:xfrm>
            <a:off x="219635" y="1057672"/>
            <a:ext cx="2236694" cy="1983996"/>
          </a:xfrm>
          <a:prstGeom prst="ellipse">
            <a:avLst/>
          </a:prstGeom>
          <a:effectLst>
            <a:softEdge rad="1397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33F94B-E85C-E54B-C03F-253D664339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7513" b="48372" l="26817" r="42951">
                        <a14:foregroundMark x1="36192" y1="24284" x2="36519" y2="17708"/>
                        <a14:foregroundMark x1="36701" y1="18359" x2="42951" y2="23503"/>
                        <a14:foregroundMark x1="41751" y1="22266" x2="36882" y2="17969"/>
                        <a14:foregroundMark x1="26853" y1="35221" x2="26817" y2="37891"/>
                        <a14:foregroundMark x1="27217" y1="29167" x2="27471" y2="30143"/>
                        <a14:foregroundMark x1="28924" y1="26497" x2="29360" y2="27995"/>
                        <a14:foregroundMark x1="30741" y1="25521" x2="31068" y2="27214"/>
                        <a14:foregroundMark x1="32594" y1="24544" x2="32776" y2="26237"/>
                        <a14:foregroundMark x1="34121" y1="27018" x2="34302" y2="28971"/>
                        <a14:foregroundMark x1="27217" y1="31055" x2="27253" y2="29948"/>
                        <a14:foregroundMark x1="29070" y1="28451" x2="29324" y2="27409"/>
                        <a14:foregroundMark x1="30850" y1="27669" x2="30850" y2="26563"/>
                        <a14:foregroundMark x1="32703" y1="26563" x2="32740" y2="25326"/>
                        <a14:foregroundMark x1="34484" y1="28906" x2="34411" y2="27734"/>
                        <a14:foregroundMark x1="33794" y1="46419" x2="33757" y2="483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217" t="16682" r="56124" b="50000"/>
          <a:stretch>
            <a:fillRect/>
          </a:stretch>
        </p:blipFill>
        <p:spPr>
          <a:xfrm>
            <a:off x="2829765" y="1057672"/>
            <a:ext cx="2274957" cy="22672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61182A5-EAD4-8C70-9360-9DE285F6F6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9076" b="37630" l="57631" r="75618">
                        <a14:foregroundMark x1="75182" y1="21029" x2="74964" y2="36198"/>
                        <a14:foregroundMark x1="75472" y1="20964" x2="75509" y2="35286"/>
                        <a14:foregroundMark x1="75509" y1="35286" x2="75654" y2="36003"/>
                        <a14:foregroundMark x1="65153" y1="24479" x2="65734" y2="21224"/>
                        <a14:foregroundMark x1="66424" y1="21029" x2="66134" y2="21484"/>
                        <a14:foregroundMark x1="62209" y1="21159" x2="62464" y2="21029"/>
                        <a14:foregroundMark x1="59339" y1="23177" x2="60102" y2="23177"/>
                        <a14:foregroundMark x1="58212" y1="21745" x2="57994" y2="22852"/>
                        <a14:foregroundMark x1="59847" y1="25000" x2="60574" y2="25586"/>
                        <a14:foregroundMark x1="61919" y1="24479" x2="62064" y2="28841"/>
                        <a14:foregroundMark x1="63009" y1="25391" x2="65371" y2="30990"/>
                        <a14:foregroundMark x1="65371" y1="30990" x2="65552" y2="32227"/>
                        <a14:foregroundMark x1="60865" y1="33138" x2="58103" y2="28190"/>
                        <a14:foregroundMark x1="58103" y1="28190" x2="57813" y2="28125"/>
                        <a14:foregroundMark x1="61846" y1="36654" x2="62391" y2="35547"/>
                        <a14:foregroundMark x1="59302" y1="35742" x2="58467" y2="37695"/>
                        <a14:foregroundMark x1="64099" y1="35286" x2="66097" y2="36784"/>
                        <a14:foregroundMark x1="66206" y1="33984" x2="57667" y2="34180"/>
                        <a14:foregroundMark x1="64826" y1="34701" x2="66097" y2="36654"/>
                        <a14:foregroundMark x1="59266" y1="35677" x2="58830" y2="37240"/>
                        <a14:foregroundMark x1="63881" y1="35156" x2="64608" y2="37174"/>
                        <a14:foregroundMark x1="60138" y1="37695" x2="64499" y2="37565"/>
                        <a14:foregroundMark x1="64499" y1="37565" x2="64499" y2="37565"/>
                        <a14:foregroundMark x1="61519" y1="20182" x2="62173" y2="190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6630" t="17210" r="23444" b="61383"/>
          <a:stretch>
            <a:fillRect/>
          </a:stretch>
        </p:blipFill>
        <p:spPr>
          <a:xfrm>
            <a:off x="6398528" y="978561"/>
            <a:ext cx="2429435" cy="14567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5F8975-ED00-D721-65F2-2A91B0CC69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3477" b="83268" l="3743" r="20930">
                        <a14:foregroundMark x1="19259" y1="75065" x2="19259" y2="75065"/>
                        <a14:foregroundMark x1="19658" y1="74805" x2="18459" y2="74414"/>
                        <a14:foregroundMark x1="19440" y1="72266" x2="18169" y2="71615"/>
                        <a14:foregroundMark x1="17914" y1="64388" x2="18714" y2="64128"/>
                        <a14:foregroundMark x1="13372" y1="63477" x2="13517" y2="63867"/>
                        <a14:foregroundMark x1="13190" y1="82617" x2="13917" y2="82617"/>
                        <a14:foregroundMark x1="12718" y1="83333" x2="13844" y2="83138"/>
                        <a14:foregroundMark x1="20894" y1="74544" x2="20930" y2="73698"/>
                        <a14:foregroundMark x1="16570" y1="72005" x2="17733" y2="68229"/>
                        <a14:foregroundMark x1="20494" y1="71354" x2="20203" y2="69466"/>
                        <a14:foregroundMark x1="18568" y1="63867" x2="18823" y2="636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59" t="62099" r="77293" b="15329"/>
          <a:stretch>
            <a:fillRect/>
          </a:stretch>
        </p:blipFill>
        <p:spPr>
          <a:xfrm>
            <a:off x="123182" y="4263766"/>
            <a:ext cx="2567032" cy="15365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53460DC-7FC4-C4C1-C8F9-FA258AD495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65690" b="83919" l="26272" r="41025">
                        <a14:foregroundMark x1="28379" y1="70508" x2="28089" y2="71094"/>
                        <a14:foregroundMark x1="37645" y1="70964" x2="39135" y2="68164"/>
                        <a14:foregroundMark x1="38445" y1="76563" x2="39353" y2="74870"/>
                        <a14:foregroundMark x1="29070" y1="77148" x2="27507" y2="78255"/>
                        <a14:foregroundMark x1="26381" y1="78385" x2="26308" y2="77734"/>
                        <a14:foregroundMark x1="41025" y1="75130" x2="40807" y2="74674"/>
                        <a14:foregroundMark x1="31105" y1="83333" x2="32449" y2="83333"/>
                        <a14:foregroundMark x1="32703" y1="83529" x2="33503" y2="83529"/>
                        <a14:foregroundMark x1="33612" y1="83984" x2="33903" y2="83789"/>
                        <a14:foregroundMark x1="33031" y1="67188" x2="32740" y2="65690"/>
                        <a14:foregroundMark x1="35029" y1="67904" x2="35392" y2="66471"/>
                        <a14:foregroundMark x1="30887" y1="68164" x2="30305" y2="66667"/>
                        <a14:foregroundMark x1="30233" y1="70182" x2="29797" y2="69271"/>
                        <a14:foregroundMark x1="28888" y1="74219" x2="28307" y2="748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237" t="64889" r="57877" b="15639"/>
          <a:stretch>
            <a:fillRect/>
          </a:stretch>
        </p:blipFill>
        <p:spPr>
          <a:xfrm>
            <a:off x="2823567" y="4259000"/>
            <a:ext cx="2059356" cy="13255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8248676-A63C-002D-3DA8-F511A7571E8D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E8F2F4"/>
              </a:clrFrom>
              <a:clrTo>
                <a:srgbClr val="E8F2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6" t="78172" r="51506" b="6299"/>
          <a:stretch>
            <a:fillRect/>
          </a:stretch>
        </p:blipFill>
        <p:spPr>
          <a:xfrm>
            <a:off x="57985" y="3140766"/>
            <a:ext cx="1918012" cy="11775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BC9470C-D5E7-CA1C-CB86-7547978F9406}"/>
              </a:ext>
            </a:extLst>
          </p:cNvPr>
          <p:cNvSpPr txBox="1"/>
          <p:nvPr/>
        </p:nvSpPr>
        <p:spPr>
          <a:xfrm>
            <a:off x="1936799" y="3381862"/>
            <a:ext cx="279093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2800" b="1" dirty="0">
                <a:latin typeface="Din pro"/>
              </a:rPr>
              <a:t>40% </a:t>
            </a:r>
            <a:r>
              <a:rPr lang="nl-NL" sz="1400" dirty="0">
                <a:latin typeface="Din pro"/>
              </a:rPr>
              <a:t>VAN OPEN ACCESS LEZERS </a:t>
            </a:r>
            <a:br>
              <a:rPr lang="nl-NL" sz="1400" dirty="0">
                <a:latin typeface="Din pro"/>
              </a:rPr>
            </a:br>
            <a:r>
              <a:rPr lang="nl-NL" sz="1400" dirty="0">
                <a:latin typeface="Din pro"/>
              </a:rPr>
              <a:t>IS GEEN ACADEMICUS.</a:t>
            </a:r>
          </a:p>
          <a:p>
            <a:r>
              <a:rPr lang="nl-NL" sz="900" dirty="0">
                <a:latin typeface="Din pro"/>
              </a:rPr>
              <a:t>Een groot deel van het publiek wil wetenschappelijke bronnen gebruiken, maar loopt vast op jargon.</a:t>
            </a:r>
            <a:endParaRPr lang="nl-NL" sz="1050" dirty="0">
              <a:latin typeface="Din pr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484867-D7C7-6C6F-E245-4F119D368BA1}"/>
              </a:ext>
            </a:extLst>
          </p:cNvPr>
          <p:cNvSpPr txBox="1"/>
          <p:nvPr/>
        </p:nvSpPr>
        <p:spPr>
          <a:xfrm>
            <a:off x="149058" y="5807631"/>
            <a:ext cx="273636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1400" noProof="0" dirty="0">
                <a:latin typeface="Din pro"/>
              </a:rPr>
              <a:t>DE ‘BALANS IS ZOEK’ TUSSEN NUACE EN BEGRIJPELIJKHEID.</a:t>
            </a:r>
          </a:p>
          <a:p>
            <a:r>
              <a:rPr lang="nl-NL" sz="900" noProof="0" dirty="0">
                <a:latin typeface="Din pro"/>
              </a:rPr>
              <a:t>Desinformatie is vaak simpel en verleidelijk, terwijl echte wetenschap vaak te </a:t>
            </a:r>
            <a:r>
              <a:rPr lang="nl-NL" sz="900" dirty="0">
                <a:latin typeface="Din pro"/>
              </a:rPr>
              <a:t>c</a:t>
            </a:r>
            <a:r>
              <a:rPr lang="nl-NL" sz="900" noProof="0" dirty="0" err="1">
                <a:latin typeface="Din pro"/>
              </a:rPr>
              <a:t>omplex</a:t>
            </a:r>
            <a:r>
              <a:rPr lang="nl-NL" sz="900" noProof="0" dirty="0">
                <a:latin typeface="Din pro"/>
              </a:rPr>
              <a:t> gepresenteerd wordt.</a:t>
            </a:r>
            <a:endParaRPr lang="nl-NL" sz="1050" noProof="0" dirty="0">
              <a:latin typeface="Din pro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ABC410-FE1E-7928-B645-D33B8C338079}"/>
              </a:ext>
            </a:extLst>
          </p:cNvPr>
          <p:cNvSpPr txBox="1"/>
          <p:nvPr/>
        </p:nvSpPr>
        <p:spPr>
          <a:xfrm>
            <a:off x="2751330" y="5762493"/>
            <a:ext cx="26825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1400" noProof="0" dirty="0">
                <a:latin typeface="Din pro"/>
              </a:rPr>
              <a:t>AI-TOOLS ZIJN KRACHTIG, </a:t>
            </a:r>
            <a:br>
              <a:rPr lang="nl-NL" sz="1400" noProof="0" dirty="0">
                <a:latin typeface="Din pro"/>
              </a:rPr>
            </a:br>
            <a:r>
              <a:rPr lang="nl-NL" sz="1400" noProof="0" dirty="0">
                <a:latin typeface="Din pro"/>
              </a:rPr>
              <a:t>MAAR (NOG) ONBETROUWBAAR.</a:t>
            </a:r>
          </a:p>
          <a:p>
            <a:r>
              <a:rPr lang="nl-NL" sz="900" noProof="0" dirty="0">
                <a:latin typeface="Din pro"/>
              </a:rPr>
              <a:t>Zonder de juiste configuratie kunnen </a:t>
            </a:r>
            <a:r>
              <a:rPr lang="nl-NL" sz="900" noProof="0" dirty="0" err="1">
                <a:latin typeface="Din pro"/>
              </a:rPr>
              <a:t>LLM’s</a:t>
            </a:r>
            <a:r>
              <a:rPr lang="nl-NL" sz="900" noProof="0" dirty="0">
                <a:latin typeface="Din pro"/>
              </a:rPr>
              <a:t> hallucineren of belangrijke nuances </a:t>
            </a:r>
            <a:r>
              <a:rPr lang="nl-NL" sz="900" noProof="0" dirty="0" err="1">
                <a:latin typeface="Din pro"/>
              </a:rPr>
              <a:t>overgeneraliseren</a:t>
            </a:r>
            <a:r>
              <a:rPr lang="nl-NL" sz="900" noProof="0" dirty="0">
                <a:latin typeface="Din pro"/>
              </a:rPr>
              <a:t>.</a:t>
            </a:r>
            <a:endParaRPr lang="nl-NL" sz="1050" noProof="0" dirty="0">
              <a:latin typeface="Din pro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48F9BA-86F1-3CC3-58AA-8A3297852407}"/>
              </a:ext>
            </a:extLst>
          </p:cNvPr>
          <p:cNvSpPr txBox="1"/>
          <p:nvPr/>
        </p:nvSpPr>
        <p:spPr>
          <a:xfrm>
            <a:off x="252248" y="5450121"/>
            <a:ext cx="1068157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nl-NL" sz="900" noProof="0" dirty="0">
                <a:latin typeface="Din pro"/>
              </a:rPr>
              <a:t>NUANCE</a:t>
            </a:r>
            <a:endParaRPr lang="nl-NL" sz="1050" noProof="0" dirty="0">
              <a:latin typeface="Din pro"/>
            </a:endParaRPr>
          </a:p>
          <a:p>
            <a:pPr algn="ctr"/>
            <a:r>
              <a:rPr lang="nl-NL" sz="700" noProof="0" dirty="0">
                <a:latin typeface="Din pro"/>
              </a:rPr>
              <a:t>(ECHTE WETENSCHAP)</a:t>
            </a:r>
            <a:endParaRPr lang="nl-NL" sz="900" noProof="0" dirty="0">
              <a:latin typeface="Din pro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C09E66-3E69-2C0A-522A-2BA94F330868}"/>
              </a:ext>
            </a:extLst>
          </p:cNvPr>
          <p:cNvSpPr txBox="1"/>
          <p:nvPr/>
        </p:nvSpPr>
        <p:spPr>
          <a:xfrm>
            <a:off x="1687255" y="5192274"/>
            <a:ext cx="106815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nl-NL" sz="900" noProof="0" dirty="0">
                <a:latin typeface="Din pro"/>
              </a:rPr>
              <a:t>BEGRIJPELIJKHEID</a:t>
            </a:r>
            <a:endParaRPr lang="nl-NL" sz="1050" noProof="0" dirty="0">
              <a:latin typeface="Din pro"/>
            </a:endParaRPr>
          </a:p>
          <a:p>
            <a:pPr algn="ctr"/>
            <a:r>
              <a:rPr lang="nl-NL" sz="700" noProof="0" dirty="0">
                <a:latin typeface="Din pro"/>
              </a:rPr>
              <a:t>(DESINFORMATIE)</a:t>
            </a:r>
            <a:endParaRPr lang="nl-NL" sz="900" noProof="0" dirty="0">
              <a:latin typeface="Din pro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9078CF3-17F0-DA1C-53D2-0DB516C75A15}"/>
              </a:ext>
            </a:extLst>
          </p:cNvPr>
          <p:cNvGrpSpPr/>
          <p:nvPr/>
        </p:nvGrpSpPr>
        <p:grpSpPr>
          <a:xfrm>
            <a:off x="9086882" y="1056853"/>
            <a:ext cx="2429435" cy="1456764"/>
            <a:chOff x="9086882" y="2267161"/>
            <a:chExt cx="2429435" cy="145676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DFC2681-8289-FA74-C7A1-A7C52DFE49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9857" b="36849" l="79397" r="95785">
                          <a14:foregroundMark x1="88772" y1="19727" x2="79724" y2="20052"/>
                          <a14:foregroundMark x1="79724" y1="20052" x2="79397" y2="36914"/>
                          <a14:foregroundMark x1="95712" y1="21029" x2="95240" y2="21029"/>
                          <a14:foregroundMark x1="93823" y1="20313" x2="94222" y2="22135"/>
                          <a14:foregroundMark x1="92769" y1="21615" x2="90334" y2="27018"/>
                          <a14:foregroundMark x1="92769" y1="28516" x2="89789" y2="28516"/>
                          <a14:foregroundMark x1="90407" y1="30273" x2="93459" y2="35352"/>
                          <a14:foregroundMark x1="93459" y1="35352" x2="94731" y2="35156"/>
                          <a14:foregroundMark x1="93532" y1="27604" x2="95785" y2="2806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644" t="17729" r="2430" b="60864"/>
            <a:stretch>
              <a:fillRect/>
            </a:stretch>
          </p:blipFill>
          <p:spPr>
            <a:xfrm>
              <a:off x="9086882" y="2267161"/>
              <a:ext cx="2429435" cy="1456764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E993388-0F56-7B1C-1EAC-1D6322FF9033}"/>
                </a:ext>
              </a:extLst>
            </p:cNvPr>
            <p:cNvSpPr txBox="1"/>
            <p:nvPr/>
          </p:nvSpPr>
          <p:spPr>
            <a:xfrm>
              <a:off x="9301308" y="2407584"/>
              <a:ext cx="667883" cy="215444"/>
            </a:xfrm>
            <a:prstGeom prst="rect">
              <a:avLst/>
            </a:prstGeom>
            <a:solidFill>
              <a:srgbClr val="C4CFD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nl-NL" sz="700" noProof="0" dirty="0">
                  <a:latin typeface="Din pro"/>
                </a:rPr>
                <a:t>PROMPT</a:t>
              </a:r>
            </a:p>
            <a:p>
              <a:pPr algn="ctr"/>
              <a:r>
                <a:rPr lang="nl-NL" sz="700" dirty="0">
                  <a:latin typeface="Din pro"/>
                </a:rPr>
                <a:t>ENGINEERING</a:t>
              </a:r>
              <a:endParaRPr lang="nl-NL" sz="900" noProof="0" dirty="0">
                <a:latin typeface="Din pro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1734BD7-8D04-D3DF-ED81-9121010BD7CA}"/>
                </a:ext>
              </a:extLst>
            </p:cNvPr>
            <p:cNvSpPr txBox="1"/>
            <p:nvPr/>
          </p:nvSpPr>
          <p:spPr>
            <a:xfrm>
              <a:off x="9890836" y="2403663"/>
              <a:ext cx="729909" cy="261610"/>
            </a:xfrm>
            <a:prstGeom prst="rect">
              <a:avLst/>
            </a:prstGeom>
            <a:solidFill>
              <a:srgbClr val="C4CFD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nl-NL" sz="700" noProof="0" dirty="0">
                  <a:latin typeface="Din pro"/>
                </a:rPr>
                <a:t>RAG</a:t>
              </a:r>
              <a:br>
                <a:rPr lang="nl-NL" sz="800" noProof="0" dirty="0">
                  <a:latin typeface="Din pro"/>
                </a:rPr>
              </a:br>
              <a:r>
                <a:rPr lang="nl-NL" sz="500" dirty="0">
                  <a:latin typeface="Din pro"/>
                </a:rPr>
                <a:t>(RETRIEVAL AUGMENTED GENERATION)</a:t>
              </a:r>
              <a:endParaRPr lang="nl-NL" sz="1000" noProof="0" dirty="0">
                <a:latin typeface="Din pro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A06423-C012-570E-F614-CAA722502A96}"/>
              </a:ext>
            </a:extLst>
          </p:cNvPr>
          <p:cNvSpPr txBox="1"/>
          <p:nvPr/>
        </p:nvSpPr>
        <p:spPr>
          <a:xfrm>
            <a:off x="6200078" y="2489310"/>
            <a:ext cx="271372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1400" noProof="0" dirty="0">
                <a:latin typeface="Din pro"/>
              </a:rPr>
              <a:t>LLM’S OVERTREFFEN MENSELIJKE SCHRIJVERS IN LEESBAARHEID.</a:t>
            </a:r>
          </a:p>
          <a:p>
            <a:r>
              <a:rPr lang="nl-NL" sz="900" noProof="0" dirty="0">
                <a:latin typeface="Din pro"/>
              </a:rPr>
              <a:t>Modellen zoals GPT-5 genereren vaak samenvattingen die toegankelijker zijn dan teksten van onderzoekers.</a:t>
            </a:r>
            <a:endParaRPr lang="nl-NL" sz="1050" noProof="0" dirty="0">
              <a:latin typeface="Din pro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0B9DD7F-5232-C7A4-606C-279481187A5F}"/>
              </a:ext>
            </a:extLst>
          </p:cNvPr>
          <p:cNvSpPr txBox="1"/>
          <p:nvPr/>
        </p:nvSpPr>
        <p:spPr>
          <a:xfrm>
            <a:off x="9086882" y="2513617"/>
            <a:ext cx="251527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1400" noProof="0" dirty="0">
                <a:latin typeface="Din pro"/>
              </a:rPr>
              <a:t>OPTIMALISATIE VIA ‘PROMPT ENGINEERING’ EN RAG.</a:t>
            </a:r>
          </a:p>
          <a:p>
            <a:r>
              <a:rPr lang="nl-NL" sz="900" noProof="0" dirty="0">
                <a:latin typeface="Din pro"/>
              </a:rPr>
              <a:t>Door rollen te definiëren en externe bronnen te koppelen wordt de feitelijkheid gewaarborgd.</a:t>
            </a:r>
            <a:endParaRPr lang="nl-NL" sz="1050" noProof="0" dirty="0">
              <a:latin typeface="Din pro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1CCA64C-628A-0166-682D-EA2F5EA81913}"/>
              </a:ext>
            </a:extLst>
          </p:cNvPr>
          <p:cNvGrpSpPr/>
          <p:nvPr/>
        </p:nvGrpSpPr>
        <p:grpSpPr>
          <a:xfrm>
            <a:off x="7599380" y="3187010"/>
            <a:ext cx="3852293" cy="1025027"/>
            <a:chOff x="7130698" y="3236315"/>
            <a:chExt cx="3852293" cy="1025027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799370C-5453-DEED-FFAC-991B25DB4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51823" b="66211" l="61301" r="95385">
                          <a14:foregroundMark x1="62936" y1="64779" x2="68532" y2="52995"/>
                          <a14:foregroundMark x1="64390" y1="58333" x2="61337" y2="57682"/>
                          <a14:foregroundMark x1="63045" y1="66276" x2="66860" y2="65951"/>
                          <a14:foregroundMark x1="68278" y1="57617" x2="68387" y2="53646"/>
                          <a14:foregroundMark x1="72747" y1="54232" x2="72711" y2="65820"/>
                          <a14:foregroundMark x1="74673" y1="54102" x2="75000" y2="63542"/>
                          <a14:foregroundMark x1="84738" y1="57878" x2="80451" y2="54232"/>
                          <a14:foregroundMark x1="80451" y1="54232" x2="83430" y2="60612"/>
                          <a14:foregroundMark x1="83430" y1="60612" x2="84302" y2="57487"/>
                          <a14:foregroundMark x1="92805" y1="53776" x2="90407" y2="60938"/>
                          <a14:foregroundMark x1="90407" y1="60938" x2="94513" y2="59961"/>
                          <a14:foregroundMark x1="94513" y1="59961" x2="92551" y2="53516"/>
                          <a14:foregroundMark x1="95349" y1="57096" x2="95385" y2="63346"/>
                          <a14:foregroundMark x1="90698" y1="63346" x2="90225" y2="62500"/>
                          <a14:foregroundMark x1="85574" y1="60547" x2="84884" y2="60547"/>
                          <a14:foregroundMark x1="79688" y1="60417" x2="80196" y2="6041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65" t="50390" r="3035" b="32305"/>
            <a:stretch>
              <a:fillRect/>
            </a:stretch>
          </p:blipFill>
          <p:spPr>
            <a:xfrm>
              <a:off x="7130698" y="3236315"/>
              <a:ext cx="3852293" cy="1025027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324EFF7-DEAB-968A-0918-F021F63C0D61}"/>
                </a:ext>
              </a:extLst>
            </p:cNvPr>
            <p:cNvSpPr txBox="1"/>
            <p:nvPr/>
          </p:nvSpPr>
          <p:spPr>
            <a:xfrm>
              <a:off x="8953349" y="4100033"/>
              <a:ext cx="929089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nl-NL" sz="700" noProof="0" dirty="0">
                  <a:latin typeface="Din pro"/>
                </a:rPr>
                <a:t>KNOWLEDGE UNITS</a:t>
              </a:r>
              <a:endParaRPr lang="nl-NL" sz="900" noProof="0" dirty="0">
                <a:latin typeface="Din pro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97F120F-CAC6-135C-0688-0DE0EA6041BE}"/>
              </a:ext>
            </a:extLst>
          </p:cNvPr>
          <p:cNvSpPr txBox="1"/>
          <p:nvPr/>
        </p:nvSpPr>
        <p:spPr>
          <a:xfrm>
            <a:off x="6912027" y="4259000"/>
            <a:ext cx="5226997" cy="42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2800" b="1" dirty="0">
                <a:latin typeface="Din pro"/>
              </a:rPr>
              <a:t>95% </a:t>
            </a:r>
            <a:r>
              <a:rPr lang="nl-NL" sz="1400" dirty="0">
                <a:latin typeface="Din pro"/>
              </a:rPr>
              <a:t>INFORMATIEBEHOUD DOOR ‘KNOWLEDGE UNITS’</a:t>
            </a:r>
          </a:p>
          <a:p>
            <a:r>
              <a:rPr lang="nl-NL" sz="900" dirty="0">
                <a:latin typeface="Din pro"/>
              </a:rPr>
              <a:t>Het opbreken van informatie in kleine eenheden zorgt voor minimale informatieverlies tijdens de vertaling.</a:t>
            </a:r>
            <a:endParaRPr lang="nl-NL" sz="1050" dirty="0">
              <a:latin typeface="Din pro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A558B2B-A726-5236-F788-CBB847E0D61B}"/>
              </a:ext>
            </a:extLst>
          </p:cNvPr>
          <p:cNvGrpSpPr/>
          <p:nvPr/>
        </p:nvGrpSpPr>
        <p:grpSpPr>
          <a:xfrm>
            <a:off x="7929953" y="6007043"/>
            <a:ext cx="4069288" cy="827420"/>
            <a:chOff x="7929741" y="6002298"/>
            <a:chExt cx="4069288" cy="82742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E4FEA5C-4499-269B-5B18-0781A7D25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71177" b="77052" l="54233" r="65473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828" t="70443" r="33122" b="22214"/>
            <a:stretch>
              <a:fillRect/>
            </a:stretch>
          </p:blipFill>
          <p:spPr>
            <a:xfrm>
              <a:off x="7929741" y="6002298"/>
              <a:ext cx="883616" cy="82742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92CDF5E-7EA4-82E0-460B-6BB11F8B277F}"/>
                </a:ext>
              </a:extLst>
            </p:cNvPr>
            <p:cNvSpPr txBox="1"/>
            <p:nvPr/>
          </p:nvSpPr>
          <p:spPr>
            <a:xfrm>
              <a:off x="8677328" y="6213544"/>
              <a:ext cx="3321701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nl-NL" sz="1400" noProof="0" dirty="0">
                  <a:latin typeface="Din pro"/>
                </a:rPr>
                <a:t>EXPERT TOETSING IS CRUCIAAL.</a:t>
              </a:r>
            </a:p>
            <a:p>
              <a:r>
                <a:rPr lang="nl-NL" sz="900" dirty="0">
                  <a:latin typeface="Din pro"/>
                </a:rPr>
                <a:t>Samenvattingen worden gecontroleerd door </a:t>
              </a:r>
              <a:r>
                <a:rPr lang="nl-NL" sz="900" dirty="0" err="1">
                  <a:latin typeface="Din pro"/>
                </a:rPr>
                <a:t>vakexperts</a:t>
              </a:r>
              <a:r>
                <a:rPr lang="nl-NL" sz="900" dirty="0">
                  <a:latin typeface="Din pro"/>
                </a:rPr>
                <a:t> op feiten, en door eindgebruikers op begrijpelijkheid</a:t>
              </a:r>
              <a:r>
                <a:rPr lang="nl-NL" sz="900" noProof="0" dirty="0">
                  <a:latin typeface="Din pro"/>
                </a:rPr>
                <a:t>.</a:t>
              </a:r>
              <a:endParaRPr lang="nl-NL" sz="1050" noProof="0" dirty="0">
                <a:latin typeface="Din pro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4B4EA13-6C13-9729-BBDC-174B5574DB31}"/>
              </a:ext>
            </a:extLst>
          </p:cNvPr>
          <p:cNvGrpSpPr/>
          <p:nvPr/>
        </p:nvGrpSpPr>
        <p:grpSpPr>
          <a:xfrm>
            <a:off x="7022262" y="4666809"/>
            <a:ext cx="4330482" cy="1408082"/>
            <a:chOff x="7054941" y="4841086"/>
            <a:chExt cx="4330482" cy="140808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5FC6DE0-5996-AF6C-138D-480F59A06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63867" b="77051" l="27865" r="58008">
                          <a14:foregroundMark x1="29036" y1="76465" x2="34440" y2="75488"/>
                          <a14:foregroundMark x1="34440" y1="75488" x2="34701" y2="75781"/>
                          <a14:foregroundMark x1="35677" y1="76660" x2="33919" y2="71484"/>
                          <a14:foregroundMark x1="27865" y1="71094" x2="27865" y2="70605"/>
                          <a14:foregroundMark x1="39323" y1="65820" x2="40104" y2="65234"/>
                          <a14:foregroundMark x1="39388" y1="65723" x2="39258" y2="66992"/>
                          <a14:foregroundMark x1="40234" y1="65625" x2="40365" y2="65820"/>
                          <a14:foregroundMark x1="43620" y1="74023" x2="45573" y2="74121"/>
                          <a14:foregroundMark x1="41927" y1="74512" x2="43424" y2="76465"/>
                          <a14:foregroundMark x1="56315" y1="67090" x2="55664" y2="67969"/>
                          <a14:foregroundMark x1="52214" y1="76465" x2="54557" y2="75488"/>
                          <a14:foregroundMark x1="56250" y1="76367" x2="58008" y2="76953"/>
                          <a14:foregroundMark x1="47852" y1="76074" x2="45638" y2="75781"/>
                          <a14:foregroundMark x1="42188" y1="77051" x2="44141" y2="76758"/>
                          <a14:foregroundMark x1="31576" y1="66895" x2="31250" y2="638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382" t="62706" r="50535" b="21893"/>
            <a:stretch>
              <a:fillRect/>
            </a:stretch>
          </p:blipFill>
          <p:spPr>
            <a:xfrm>
              <a:off x="7191023" y="4860376"/>
              <a:ext cx="2374521" cy="1056210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30989EE-86B4-9164-1A1A-8EDCA1CCD278}"/>
                </a:ext>
              </a:extLst>
            </p:cNvPr>
            <p:cNvSpPr txBox="1"/>
            <p:nvPr/>
          </p:nvSpPr>
          <p:spPr>
            <a:xfrm>
              <a:off x="7054941" y="5798495"/>
              <a:ext cx="1246027" cy="2721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nl-NL" sz="1000" noProof="0" dirty="0">
                  <a:latin typeface="Din pro"/>
                </a:rPr>
                <a:t>GZ-PSYCHOLOGE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913F0E6-E16E-A834-D529-9C1410A80FD2}"/>
                </a:ext>
              </a:extLst>
            </p:cNvPr>
            <p:cNvSpPr txBox="1"/>
            <p:nvPr/>
          </p:nvSpPr>
          <p:spPr>
            <a:xfrm>
              <a:off x="8244983" y="5785801"/>
              <a:ext cx="1683797" cy="462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nl-NL" sz="1000" noProof="0" dirty="0">
                  <a:latin typeface="Din pro"/>
                </a:rPr>
                <a:t>BELEIDSMEDEWERKERS</a:t>
              </a:r>
              <a:br>
                <a:rPr lang="nl-NL" sz="1000" noProof="0" dirty="0">
                  <a:latin typeface="Din pro"/>
                </a:rPr>
              </a:br>
              <a:r>
                <a:rPr lang="nl-NL" sz="1000" noProof="0" dirty="0">
                  <a:latin typeface="Din pro"/>
                </a:rPr>
                <a:t>PARLEMENT / MINISTERIE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4763A07-F03C-191B-F7CF-7918FF82CAAF}"/>
                </a:ext>
              </a:extLst>
            </p:cNvPr>
            <p:cNvSpPr txBox="1"/>
            <p:nvPr/>
          </p:nvSpPr>
          <p:spPr>
            <a:xfrm>
              <a:off x="9701626" y="5786349"/>
              <a:ext cx="1683797" cy="462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nl-NL" sz="1000" noProof="0" dirty="0">
                  <a:latin typeface="Din pro"/>
                </a:rPr>
                <a:t>VAKEXPERTS / ONDERZOEKERS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5533F492-B534-076C-A542-108B1BB9A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63867" b="77051" l="27865" r="58008">
                          <a14:foregroundMark x1="29036" y1="76465" x2="34440" y2="75488"/>
                          <a14:foregroundMark x1="34440" y1="75488" x2="34701" y2="75781"/>
                          <a14:foregroundMark x1="35677" y1="76660" x2="33919" y2="71484"/>
                          <a14:foregroundMark x1="27865" y1="71094" x2="27865" y2="70605"/>
                          <a14:foregroundMark x1="39323" y1="65820" x2="40104" y2="65234"/>
                          <a14:foregroundMark x1="39388" y1="65723" x2="39258" y2="66992"/>
                          <a14:foregroundMark x1="40234" y1="65625" x2="40365" y2="65820"/>
                          <a14:foregroundMark x1="43620" y1="74023" x2="45573" y2="74121"/>
                          <a14:foregroundMark x1="41927" y1="74512" x2="43424" y2="76465"/>
                          <a14:foregroundMark x1="56315" y1="67090" x2="55664" y2="67969"/>
                          <a14:foregroundMark x1="52214" y1="76465" x2="54557" y2="75488"/>
                          <a14:foregroundMark x1="56250" y1="76367" x2="58008" y2="76953"/>
                          <a14:foregroundMark x1="47852" y1="76074" x2="45638" y2="75781"/>
                          <a14:foregroundMark x1="42188" y1="77051" x2="44141" y2="76758"/>
                          <a14:foregroundMark x1="31576" y1="66895" x2="31250" y2="638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519" t="62641" r="40749" b="21958"/>
            <a:stretch>
              <a:fillRect/>
            </a:stretch>
          </p:blipFill>
          <p:spPr>
            <a:xfrm>
              <a:off x="9930108" y="4841086"/>
              <a:ext cx="1001159" cy="1056210"/>
            </a:xfrm>
            <a:prstGeom prst="rect">
              <a:avLst/>
            </a:prstGeom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15A5107-2BBB-7BC7-3E72-87E3ED288E4E}"/>
              </a:ext>
            </a:extLst>
          </p:cNvPr>
          <p:cNvSpPr txBox="1"/>
          <p:nvPr/>
        </p:nvSpPr>
        <p:spPr>
          <a:xfrm>
            <a:off x="4968594" y="3725929"/>
            <a:ext cx="2205987" cy="2005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nl-NL" sz="2000" b="1" dirty="0">
                <a:latin typeface="Din pro"/>
              </a:rPr>
              <a:t>HET PROJECT</a:t>
            </a:r>
          </a:p>
          <a:p>
            <a:pPr marL="285750" indent="-285750">
              <a:lnSpc>
                <a:spcPts val="1500"/>
              </a:lnSpc>
              <a:buFont typeface="Wingdings" panose="05000000000000000000" pitchFamily="2" charset="2"/>
              <a:buChar char="q"/>
            </a:pPr>
            <a:r>
              <a:rPr lang="nl-NL" sz="1100" b="1" dirty="0">
                <a:latin typeface="Din pro"/>
              </a:rPr>
              <a:t>Generatieve AI </a:t>
            </a:r>
            <a:r>
              <a:rPr lang="nl-NL" sz="1100" dirty="0">
                <a:latin typeface="Din pro"/>
              </a:rPr>
              <a:t>maakt publieksvriendelijke Nederlandstalige samenvattingen</a:t>
            </a:r>
          </a:p>
          <a:p>
            <a:pPr marL="285750" indent="-285750">
              <a:lnSpc>
                <a:spcPts val="1500"/>
              </a:lnSpc>
              <a:buFont typeface="Wingdings" panose="05000000000000000000" pitchFamily="2" charset="2"/>
              <a:buChar char="q"/>
            </a:pPr>
            <a:r>
              <a:rPr lang="nl-NL" sz="1100" b="1" dirty="0">
                <a:latin typeface="Din pro"/>
              </a:rPr>
              <a:t>Open</a:t>
            </a:r>
            <a:r>
              <a:rPr lang="nl-NL" sz="1100" dirty="0">
                <a:latin typeface="Din pro"/>
              </a:rPr>
              <a:t> (publieke) </a:t>
            </a:r>
            <a:r>
              <a:rPr lang="nl-NL" sz="1100" dirty="0" err="1">
                <a:latin typeface="Din pro"/>
              </a:rPr>
              <a:t>LLM’s</a:t>
            </a:r>
            <a:endParaRPr lang="nl-NL" sz="1100" dirty="0">
              <a:latin typeface="Din pro"/>
            </a:endParaRPr>
          </a:p>
          <a:p>
            <a:pPr marL="285750" indent="-285750">
              <a:lnSpc>
                <a:spcPts val="1500"/>
              </a:lnSpc>
              <a:buFont typeface="Wingdings" panose="05000000000000000000" pitchFamily="2" charset="2"/>
              <a:buChar char="q"/>
            </a:pPr>
            <a:r>
              <a:rPr lang="nl-NL" sz="1100" dirty="0">
                <a:latin typeface="Din pro"/>
              </a:rPr>
              <a:t>Toetsing door </a:t>
            </a:r>
            <a:r>
              <a:rPr lang="nl-NL" sz="1100" b="1" dirty="0">
                <a:latin typeface="Din pro"/>
              </a:rPr>
              <a:t>echte experts</a:t>
            </a:r>
          </a:p>
          <a:p>
            <a:pPr marL="285750" indent="-285750">
              <a:lnSpc>
                <a:spcPts val="1500"/>
              </a:lnSpc>
              <a:buFont typeface="Wingdings" panose="05000000000000000000" pitchFamily="2" charset="2"/>
              <a:buChar char="q"/>
            </a:pPr>
            <a:r>
              <a:rPr lang="nl-NL" sz="1100" b="1" dirty="0">
                <a:latin typeface="Din pro"/>
              </a:rPr>
              <a:t>Brug</a:t>
            </a:r>
            <a:r>
              <a:rPr lang="nl-NL" sz="1100" dirty="0">
                <a:latin typeface="Din pro"/>
              </a:rPr>
              <a:t> tussen Wetenschap en Samenleving</a:t>
            </a:r>
          </a:p>
          <a:p>
            <a:pPr marL="285750" indent="-285750">
              <a:lnSpc>
                <a:spcPts val="1500"/>
              </a:lnSpc>
              <a:buFont typeface="Wingdings" panose="05000000000000000000" pitchFamily="2" charset="2"/>
              <a:buChar char="q"/>
            </a:pPr>
            <a:r>
              <a:rPr lang="nl-NL" sz="1100" dirty="0">
                <a:latin typeface="Din pro"/>
              </a:rPr>
              <a:t>Alle </a:t>
            </a:r>
            <a:r>
              <a:rPr lang="nl-NL" sz="1100" b="1" dirty="0">
                <a:latin typeface="Din pro"/>
              </a:rPr>
              <a:t>resultaten openbaar</a:t>
            </a:r>
            <a:endParaRPr lang="nl-NL" sz="900" dirty="0">
              <a:latin typeface="Din pro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E1C50075-5913-DCEB-517E-5DF21F737272}"/>
              </a:ext>
            </a:extLst>
          </p:cNvPr>
          <p:cNvPicPr>
            <a:picLocks noChangeAspect="1"/>
          </p:cNvPicPr>
          <p:nvPr/>
        </p:nvPicPr>
        <p:blipFill>
          <a:blip r:embed="rId16">
            <a:alphaModFix amt="5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9974" b="65234" l="40807" r="57049">
                        <a14:foregroundMark x1="56977" y1="42773" x2="52871" y2="41667"/>
                        <a14:foregroundMark x1="52326" y1="40820" x2="46657" y2="39974"/>
                        <a14:foregroundMark x1="46657" y1="39974" x2="44876" y2="41667"/>
                        <a14:foregroundMark x1="42442" y1="44141" x2="41824" y2="48633"/>
                        <a14:foregroundMark x1="40807" y1="45638" x2="41679" y2="48372"/>
                        <a14:foregroundMark x1="46403" y1="65299" x2="51890" y2="64193"/>
                        <a14:foregroundMark x1="54033" y1="64974" x2="54033" y2="64974"/>
                        <a14:foregroundMark x1="56940" y1="57096" x2="57049" y2="49544"/>
                        <a14:foregroundMark x1="57049" y1="49544" x2="57049" y2="495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134" t="38477" r="41610" b="31764"/>
          <a:stretch>
            <a:fillRect/>
          </a:stretch>
        </p:blipFill>
        <p:spPr>
          <a:xfrm>
            <a:off x="5332601" y="2842516"/>
            <a:ext cx="1085483" cy="987594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4859B3A4-B180-1AD9-DEBC-89F56B2DDAED}"/>
              </a:ext>
            </a:extLst>
          </p:cNvPr>
          <p:cNvGrpSpPr/>
          <p:nvPr/>
        </p:nvGrpSpPr>
        <p:grpSpPr>
          <a:xfrm>
            <a:off x="4112654" y="6536853"/>
            <a:ext cx="3442511" cy="266665"/>
            <a:chOff x="3308299" y="6494195"/>
            <a:chExt cx="4238852" cy="328351"/>
          </a:xfrm>
        </p:grpSpPr>
        <p:grpSp>
          <p:nvGrpSpPr>
            <p:cNvPr id="47" name="Google Shape;557;p13">
              <a:extLst>
                <a:ext uri="{FF2B5EF4-FFF2-40B4-BE49-F238E27FC236}">
                  <a16:creationId xmlns:a16="http://schemas.microsoft.com/office/drawing/2014/main" id="{0BF76F6A-1DD7-B9BB-81D3-C3FA441DEF81}"/>
                </a:ext>
              </a:extLst>
            </p:cNvPr>
            <p:cNvGrpSpPr/>
            <p:nvPr/>
          </p:nvGrpSpPr>
          <p:grpSpPr>
            <a:xfrm>
              <a:off x="3308299" y="6494195"/>
              <a:ext cx="4238852" cy="323372"/>
              <a:chOff x="-603647" y="4903266"/>
              <a:chExt cx="7297791" cy="556732"/>
            </a:xfrm>
            <a:effectLst/>
          </p:grpSpPr>
          <p:pic>
            <p:nvPicPr>
              <p:cNvPr id="48" name="Google Shape;558;p13">
                <a:extLst>
                  <a:ext uri="{FF2B5EF4-FFF2-40B4-BE49-F238E27FC236}">
                    <a16:creationId xmlns:a16="http://schemas.microsoft.com/office/drawing/2014/main" id="{35375FEE-6CF7-5557-CD17-2F8CFF744A43}"/>
                  </a:ext>
                </a:extLst>
              </p:cNvPr>
              <p:cNvPicPr preferRelativeResize="0"/>
              <p:nvPr/>
            </p:nvPicPr>
            <p:blipFill rotWithShape="1">
              <a:blip r:embed="rId1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alphaModFix/>
              </a:blip>
              <a:srcRect/>
              <a:stretch/>
            </p:blipFill>
            <p:spPr>
              <a:xfrm>
                <a:off x="2976753" y="4921054"/>
                <a:ext cx="1325321" cy="52557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49" name="Google Shape;559;p13" descr="Skils is gespecialiseerd in diagnostiek en kortdurende behandelingen.">
                <a:extLst>
                  <a:ext uri="{FF2B5EF4-FFF2-40B4-BE49-F238E27FC236}">
                    <a16:creationId xmlns:a16="http://schemas.microsoft.com/office/drawing/2014/main" id="{57F6A598-2526-797D-ABCE-5595E1E35E25}"/>
                  </a:ext>
                </a:extLst>
              </p:cNvPr>
              <p:cNvPicPr preferRelativeResize="0"/>
              <p:nvPr/>
            </p:nvPicPr>
            <p:blipFill rotWithShape="1">
              <a:blip r:embed="rId18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alphaModFix/>
              </a:blip>
              <a:srcRect l="36346" t="31044" r="25093" b="31350"/>
              <a:stretch/>
            </p:blipFill>
            <p:spPr>
              <a:xfrm>
                <a:off x="4468069" y="4903266"/>
                <a:ext cx="1029789" cy="52557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50" name="Google Shape;560;p13" descr="Persbeeld | KB">
                <a:extLst>
                  <a:ext uri="{FF2B5EF4-FFF2-40B4-BE49-F238E27FC236}">
                    <a16:creationId xmlns:a16="http://schemas.microsoft.com/office/drawing/2014/main" id="{B8EBB233-FB32-B134-2F23-E699F5A56AA7}"/>
                  </a:ext>
                </a:extLst>
              </p:cNvPr>
              <p:cNvPicPr preferRelativeResize="0"/>
              <p:nvPr/>
            </p:nvPicPr>
            <p:blipFill rotWithShape="1">
              <a:blip r:embed="rId1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alphaModFix/>
              </a:blip>
              <a:srcRect l="9300" t="23985" r="9850" b="23818"/>
              <a:stretch/>
            </p:blipFill>
            <p:spPr>
              <a:xfrm>
                <a:off x="-603647" y="4934421"/>
                <a:ext cx="1821774" cy="52557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51" name="Google Shape;561;p13" descr="A black background with white letters&#10;&#10;AI-generated content may be incorrect.">
                <a:extLst>
                  <a:ext uri="{FF2B5EF4-FFF2-40B4-BE49-F238E27FC236}">
                    <a16:creationId xmlns:a16="http://schemas.microsoft.com/office/drawing/2014/main" id="{77EB305D-0937-5694-F04C-97D04DC8164C}"/>
                  </a:ext>
                </a:extLst>
              </p:cNvPr>
              <p:cNvPicPr preferRelativeResize="0"/>
              <p:nvPr/>
            </p:nvPicPr>
            <p:blipFill rotWithShape="1">
              <a:blip r:embed="rId20">
                <a:alphaModFix/>
              </a:blip>
              <a:srcRect/>
              <a:stretch/>
            </p:blipFill>
            <p:spPr>
              <a:xfrm>
                <a:off x="5666423" y="4903266"/>
                <a:ext cx="1027721" cy="52557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</p:grp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AE1B83AE-F48E-2018-03E1-68D337A878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2066" y="6516546"/>
              <a:ext cx="1045874" cy="30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67190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U2025">
  <a:themeElements>
    <a:clrScheme name="Custom 1">
      <a:dk1>
        <a:srgbClr val="000000"/>
      </a:dk1>
      <a:lt1>
        <a:srgbClr val="0077B3"/>
      </a:lt1>
      <a:dk2>
        <a:srgbClr val="0089CF"/>
      </a:dk2>
      <a:lt2>
        <a:srgbClr val="FFFFFF"/>
      </a:lt2>
      <a:accent1>
        <a:srgbClr val="66AFD4"/>
      </a:accent1>
      <a:accent2>
        <a:srgbClr val="E8692D"/>
      </a:accent2>
      <a:accent3>
        <a:srgbClr val="4FAF48"/>
      </a:accent3>
      <a:accent4>
        <a:srgbClr val="8E4DA4"/>
      </a:accent4>
      <a:accent5>
        <a:srgbClr val="0077B3"/>
      </a:accent5>
      <a:accent6>
        <a:srgbClr val="CC4100"/>
      </a:accent6>
      <a:hlink>
        <a:srgbClr val="0077B2"/>
      </a:hlink>
      <a:folHlink>
        <a:srgbClr val="3B2171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  <a:effectLst>
          <a:outerShdw blurRad="254000" dist="127000" dir="2700000" algn="ctr" rotWithShape="0">
            <a:schemeClr val="tx1">
              <a:alpha val="5000"/>
            </a:schemeClr>
          </a:outerShdw>
        </a:effectLst>
      </a:spPr>
      <a:bodyPr wrap="square" lIns="0" tIns="0" rIns="0" bIns="0" rtlCol="0">
        <a:noAutofit/>
      </a:bodyPr>
      <a:lstStyle>
        <a:defPPr algn="l">
          <a:defRPr sz="1400" b="0" i="0" dirty="0" err="1" smtClean="0">
            <a:solidFill>
              <a:schemeClr val="tx1"/>
            </a:solidFill>
            <a:latin typeface="Aptos" panose="020B0004020202020204" pitchFamily="34" charset="0"/>
          </a:defRPr>
        </a:defPPr>
      </a:lstStyle>
    </a:txDef>
  </a:objectDefaults>
  <a:extraClrSchemeLst/>
  <a:custClrLst>
    <a:custClr name="VU blue">
      <a:srgbClr val="0077B3"/>
    </a:custClr>
    <a:custClr name="Orange-red">
      <a:srgbClr val="CC4100"/>
    </a:custClr>
    <a:custClr name="Green">
      <a:srgbClr val="008053"/>
    </a:custClr>
    <a:custClr name="Purple">
      <a:srgbClr val="3B2171"/>
    </a:custClr>
    <a:custClr name="VU Blue Secundary">
      <a:srgbClr val="66AFD4"/>
    </a:custClr>
    <a:custClr name="VU Red Secundary">
      <a:srgbClr val="E8692D"/>
    </a:custClr>
    <a:custClr name="VU Green Secundary">
      <a:srgbClr val="4FAF48"/>
    </a:custClr>
    <a:custClr name="VU Purple Secundary">
      <a:srgbClr val="8E4DA4"/>
    </a:custClr>
    <a:custClr name="VU Yellow Extra">
      <a:srgbClr val="F3BA30"/>
    </a:custClr>
    <a:custClr name="VU Blue Extra">
      <a:srgbClr val="005690"/>
    </a:custClr>
    <a:custClr name="VU Blue Tertiary">
      <a:srgbClr val="DFF2FD"/>
    </a:custClr>
    <a:custClr name="VU Red Tertiary">
      <a:srgbClr val="FCD3B6"/>
    </a:custClr>
    <a:custClr name="VU Green Tertiary">
      <a:srgbClr val="EBF0C6"/>
    </a:custClr>
    <a:custClr name="VU Purple Tertiary">
      <a:srgbClr val="DDC6EE"/>
    </a:custClr>
    <a:custClr name="VU Grey 1">
      <a:srgbClr val="FAF7F5"/>
    </a:custClr>
    <a:custClr name="VU Grey 2">
      <a:srgbClr val="F2EFED"/>
    </a:custClr>
    <a:custClr name="VU Grey 3">
      <a:srgbClr val="D8D3D0"/>
    </a:custClr>
    <a:custClr name="VU Grey 4">
      <a:srgbClr val="333333"/>
    </a:custClr>
  </a:custClrLst>
  <a:extLst>
    <a:ext uri="{05A4C25C-085E-4340-85A3-A5531E510DB2}">
      <thm15:themeFamily xmlns:thm15="http://schemas.microsoft.com/office/thememl/2012/main" name="VU2025" id="{6304D6A5-BD9C-498E-8673-2280BAB1F876}" vid="{0FF22BD2-90B1-405B-A33E-059091D6790E}"/>
    </a:ext>
  </a:extLst>
</a:theme>
</file>

<file path=ppt/theme/theme2.xml><?xml version="1.0" encoding="utf-8"?>
<a:theme xmlns:a="http://schemas.openxmlformats.org/drawingml/2006/main" name="Movares template set">
  <a:themeElements>
    <a:clrScheme name="Movares">
      <a:dk1>
        <a:srgbClr val="17443A"/>
      </a:dk1>
      <a:lt1>
        <a:srgbClr val="54554C"/>
      </a:lt1>
      <a:dk2>
        <a:srgbClr val="ED6A53"/>
      </a:dk2>
      <a:lt2>
        <a:srgbClr val="B3C2AF"/>
      </a:lt2>
      <a:accent1>
        <a:srgbClr val="BEE2E9"/>
      </a:accent1>
      <a:accent2>
        <a:srgbClr val="F3DECE"/>
      </a:accent2>
      <a:accent3>
        <a:srgbClr val="17443A"/>
      </a:accent3>
      <a:accent4>
        <a:srgbClr val="54554C"/>
      </a:accent4>
      <a:accent5>
        <a:srgbClr val="B3C2AF"/>
      </a:accent5>
      <a:accent6>
        <a:srgbClr val="ED6A53"/>
      </a:accent6>
      <a:hlink>
        <a:srgbClr val="F3DECE"/>
      </a:hlink>
      <a:folHlink>
        <a:srgbClr val="17443A"/>
      </a:folHlink>
    </a:clrScheme>
    <a:fontScheme name="Movares">
      <a:majorFont>
        <a:latin typeface="Aptos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lnSpc>
            <a:spcPct val="90000"/>
          </a:lnSpc>
          <a:spcBef>
            <a:spcPts val="200"/>
          </a:spcBef>
          <a:spcAft>
            <a:spcPts val="2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accent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78488-VU-PowerPoint template Febr 2025" id="{B0AD4260-91EA-3C4A-A955-6740BBAC8EBD}" vid="{3CDBB882-E744-1244-A1E6-798AC4CCED1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U2025</Template>
  <TotalTime>140</TotalTime>
  <Words>242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ptos</vt:lpstr>
      <vt:lpstr>Aptos Display</vt:lpstr>
      <vt:lpstr>Arial</vt:lpstr>
      <vt:lpstr>Corbel</vt:lpstr>
      <vt:lpstr>Din pro</vt:lpstr>
      <vt:lpstr>Segoe UI Light</vt:lpstr>
      <vt:lpstr>Wingdings</vt:lpstr>
      <vt:lpstr>VU2025</vt:lpstr>
      <vt:lpstr>Movares template set</vt:lpstr>
      <vt:lpstr>think-cell Slide</vt:lpstr>
      <vt:lpstr>WETENSCHAP IN BEGRIJPELIJKE TAAL: DE KRACHT VAN A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urice Vanderfeesten</dc:creator>
  <cp:lastModifiedBy>Maurice Vanderfeesten</cp:lastModifiedBy>
  <cp:revision>7</cp:revision>
  <dcterms:created xsi:type="dcterms:W3CDTF">2026-01-16T10:07:07Z</dcterms:created>
  <dcterms:modified xsi:type="dcterms:W3CDTF">2026-01-16T12:29:26Z</dcterms:modified>
</cp:coreProperties>
</file>